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8" r:id="rId1"/>
    <p:sldMasterId id="2147483679" r:id="rId2"/>
    <p:sldMasterId id="2147483680" r:id="rId3"/>
  </p:sldMasterIdLst>
  <p:notesMasterIdLst>
    <p:notesMasterId r:id="rId37"/>
  </p:notesMasterIdLst>
  <p:sldIdLst>
    <p:sldId id="256" r:id="rId4"/>
    <p:sldId id="258" r:id="rId5"/>
    <p:sldId id="259" r:id="rId6"/>
    <p:sldId id="295" r:id="rId7"/>
    <p:sldId id="296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1" r:id="rId17"/>
    <p:sldId id="272" r:id="rId18"/>
    <p:sldId id="275" r:id="rId19"/>
    <p:sldId id="297" r:id="rId20"/>
    <p:sldId id="298" r:id="rId21"/>
    <p:sldId id="299" r:id="rId22"/>
    <p:sldId id="300" r:id="rId23"/>
    <p:sldId id="281" r:id="rId24"/>
    <p:sldId id="282" r:id="rId25"/>
    <p:sldId id="302" r:id="rId26"/>
    <p:sldId id="304" r:id="rId27"/>
    <p:sldId id="286" r:id="rId28"/>
    <p:sldId id="287" r:id="rId29"/>
    <p:sldId id="288" r:id="rId30"/>
    <p:sldId id="289" r:id="rId31"/>
    <p:sldId id="290" r:id="rId32"/>
    <p:sldId id="291" r:id="rId33"/>
    <p:sldId id="292" r:id="rId34"/>
    <p:sldId id="293" r:id="rId35"/>
    <p:sldId id="305" r:id="rId36"/>
  </p:sldIdLst>
  <p:sldSz cx="12192000" cy="6858000"/>
  <p:notesSz cx="6858000" cy="9144000"/>
  <p:embeddedFontLst>
    <p:embeddedFont>
      <p:font typeface="Calibri" panose="020F0502020204030204" pitchFamily="34" charset="0"/>
      <p:regular r:id="rId38"/>
      <p:bold r:id="rId39"/>
      <p:italic r:id="rId40"/>
      <p:boldItalic r:id="rId41"/>
    </p:embeddedFont>
    <p:embeddedFont>
      <p:font typeface="Calibri Light" panose="020F0302020204030204" pitchFamily="34" charset="0"/>
      <p:regular r:id="rId42"/>
      <p:italic r:id="rId43"/>
    </p:embeddedFont>
    <p:embeddedFont>
      <p:font typeface="Lato" panose="020B0604020202020204" charset="0"/>
      <p:regular r:id="rId44"/>
      <p:bold r:id="rId45"/>
      <p:italic r:id="rId46"/>
      <p:boldItalic r:id="rId47"/>
    </p:embeddedFont>
    <p:embeddedFont>
      <p:font typeface="Lato Regular" panose="020B0604020202020204" charset="0"/>
      <p:regular r:id="rId48"/>
    </p:embeddedFont>
    <p:embeddedFont>
      <p:font typeface="Lato Semibold" panose="020B0604020202020204" charset="0"/>
      <p:regular r:id="rId49"/>
      <p:bold r:id="rId50"/>
    </p:embeddedFont>
    <p:embeddedFont>
      <p:font typeface="Proxima Nova" panose="020B0604020202020204" charset="0"/>
      <p:regular r:id="rId51"/>
      <p:bold r:id="rId52"/>
      <p:italic r:id="rId53"/>
      <p:boldItalic r:id="rId54"/>
    </p:embeddedFont>
    <p:embeddedFont>
      <p:font typeface="Roboto" panose="02000000000000000000" pitchFamily="2" charset="0"/>
      <p:regular r:id="rId55"/>
      <p:bold r:id="rId56"/>
      <p:italic r:id="rId57"/>
      <p:boldItalic r:id="rId58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5A5A"/>
    <a:srgbClr val="4890E4"/>
    <a:srgbClr val="F4AB35"/>
    <a:srgbClr val="EE283C"/>
    <a:srgbClr val="CE6EC0"/>
    <a:srgbClr val="0EC1C1"/>
    <a:srgbClr val="23AE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539" autoAdjust="0"/>
    <p:restoredTop sz="88312" autoAdjust="0"/>
  </p:normalViewPr>
  <p:slideViewPr>
    <p:cSldViewPr snapToGrid="0">
      <p:cViewPr varScale="1">
        <p:scale>
          <a:sx n="114" d="100"/>
          <a:sy n="114" d="100"/>
        </p:scale>
        <p:origin x="612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font" Target="fonts/font2.fntdata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font" Target="fonts/font5.fntdata"/><Relationship Id="rId47" Type="http://schemas.openxmlformats.org/officeDocument/2006/relationships/font" Target="fonts/font10.fntdata"/><Relationship Id="rId50" Type="http://schemas.openxmlformats.org/officeDocument/2006/relationships/font" Target="fonts/font13.fntdata"/><Relationship Id="rId55" Type="http://schemas.openxmlformats.org/officeDocument/2006/relationships/font" Target="fonts/font18.fntdata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notesMaster" Target="notesMasters/notesMaster1.xml"/><Relationship Id="rId40" Type="http://schemas.openxmlformats.org/officeDocument/2006/relationships/font" Target="fonts/font3.fntdata"/><Relationship Id="rId45" Type="http://schemas.openxmlformats.org/officeDocument/2006/relationships/font" Target="fonts/font8.fntdata"/><Relationship Id="rId53" Type="http://schemas.openxmlformats.org/officeDocument/2006/relationships/font" Target="fonts/font16.fntdata"/><Relationship Id="rId58" Type="http://schemas.openxmlformats.org/officeDocument/2006/relationships/font" Target="fonts/font21.fntdata"/><Relationship Id="rId5" Type="http://schemas.openxmlformats.org/officeDocument/2006/relationships/slide" Target="slides/slide2.xml"/><Relationship Id="rId61" Type="http://schemas.openxmlformats.org/officeDocument/2006/relationships/theme" Target="theme/theme1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font" Target="fonts/font6.fntdata"/><Relationship Id="rId48" Type="http://schemas.openxmlformats.org/officeDocument/2006/relationships/font" Target="fonts/font11.fntdata"/><Relationship Id="rId56" Type="http://schemas.openxmlformats.org/officeDocument/2006/relationships/font" Target="fonts/font19.fntdata"/><Relationship Id="rId8" Type="http://schemas.openxmlformats.org/officeDocument/2006/relationships/slide" Target="slides/slide5.xml"/><Relationship Id="rId51" Type="http://schemas.openxmlformats.org/officeDocument/2006/relationships/font" Target="fonts/font14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font" Target="fonts/font1.fntdata"/><Relationship Id="rId46" Type="http://schemas.openxmlformats.org/officeDocument/2006/relationships/font" Target="fonts/font9.fntdata"/><Relationship Id="rId59" Type="http://schemas.openxmlformats.org/officeDocument/2006/relationships/presProps" Target="presProps.xml"/><Relationship Id="rId20" Type="http://schemas.openxmlformats.org/officeDocument/2006/relationships/slide" Target="slides/slide17.xml"/><Relationship Id="rId41" Type="http://schemas.openxmlformats.org/officeDocument/2006/relationships/font" Target="fonts/font4.fntdata"/><Relationship Id="rId54" Type="http://schemas.openxmlformats.org/officeDocument/2006/relationships/font" Target="fonts/font17.fntdata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font" Target="fonts/font12.fntdata"/><Relationship Id="rId57" Type="http://schemas.openxmlformats.org/officeDocument/2006/relationships/font" Target="fonts/font20.fntdata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font" Target="fonts/font7.fntdata"/><Relationship Id="rId52" Type="http://schemas.openxmlformats.org/officeDocument/2006/relationships/font" Target="fonts/font15.fntdata"/><Relationship Id="rId6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IN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Google Shape;414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415" name="Google Shape;41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1" name="Google Shape;681;g8d20103625_0_3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82" name="Google Shape;682;g8d20103625_0_39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683" name="Google Shape;683;g8d20103625_0_39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>
                <a:latin typeface="Lato"/>
                <a:ea typeface="Lato"/>
                <a:cs typeface="Lato"/>
                <a:sym typeface="Lato"/>
              </a:rPr>
              <a:t>11</a:t>
            </a:fld>
            <a:endParaRPr dirty="0"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7" name="Google Shape;707;g8d33981a46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08" name="Google Shape;708;g8d33981a46_0_25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709" name="Google Shape;709;g8d33981a46_0_25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>
                <a:latin typeface="Lato"/>
                <a:ea typeface="Lato"/>
                <a:cs typeface="Lato"/>
                <a:sym typeface="Lato"/>
              </a:rPr>
              <a:t>12</a:t>
            </a:fld>
            <a:endParaRPr dirty="0"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3" name="Google Shape;733;g8d33981a46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34" name="Google Shape;734;g8d33981a46_0_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735" name="Google Shape;735;g8d33981a46_0_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>
                <a:latin typeface="Lato"/>
                <a:ea typeface="Lato"/>
                <a:cs typeface="Lato"/>
                <a:sym typeface="Lato"/>
              </a:rPr>
              <a:t>13</a:t>
            </a:fld>
            <a:endParaRPr dirty="0"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8" name="Google Shape;748;g8d32feed5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9" name="Google Shape;749;g8d32feed59_0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750" name="Google Shape;750;g8d32feed59_0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>
                <a:latin typeface="Lato"/>
                <a:ea typeface="Lato"/>
                <a:cs typeface="Lato"/>
                <a:sym typeface="Lato"/>
              </a:rPr>
              <a:t>14</a:t>
            </a:fld>
            <a:endParaRPr dirty="0"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2" name="Google Shape;762;g8d32feed59_0_5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63" name="Google Shape;763;g8d32feed59_0_5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764" name="Google Shape;764;g8d32feed59_0_5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>
                <a:latin typeface="Lato"/>
                <a:ea typeface="Lato"/>
                <a:cs typeface="Lato"/>
                <a:sym typeface="Lato"/>
              </a:rPr>
              <a:t>15</a:t>
            </a:fld>
            <a:endParaRPr dirty="0"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4" name="Google Shape;804;g8d33981a46_0_3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05" name="Google Shape;805;g8d33981a46_0_30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806" name="Google Shape;806;g8d33981a46_0_30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>
                <a:latin typeface="Lato"/>
                <a:ea typeface="Lato"/>
                <a:cs typeface="Lato"/>
                <a:sym typeface="Lato"/>
              </a:rPr>
              <a:t>16</a:t>
            </a:fld>
            <a:endParaRPr dirty="0"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3" name="Google Shape;733;g8d33981a46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34" name="Google Shape;734;g8d33981a46_0_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735" name="Google Shape;735;g8d33981a46_0_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en-IN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17</a:t>
            </a:fld>
            <a:endParaRPr kumimoji="0" sz="18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3957305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3" name="Google Shape;733;g8d33981a46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34" name="Google Shape;734;g8d33981a46_0_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735" name="Google Shape;735;g8d33981a46_0_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en-IN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18</a:t>
            </a:fld>
            <a:endParaRPr kumimoji="0" sz="18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5839136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4" name="Google Shape;804;g8d33981a46_0_3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05" name="Google Shape;805;g8d33981a46_0_30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806" name="Google Shape;806;g8d33981a46_0_30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en-IN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19</a:t>
            </a:fld>
            <a:endParaRPr kumimoji="0" sz="18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197475748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2" name="Google Shape;762;g8d32feed59_0_5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63" name="Google Shape;763;g8d32feed59_0_5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764" name="Google Shape;764;g8d32feed59_0_5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en-IN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20</a:t>
            </a:fld>
            <a:endParaRPr kumimoji="0" sz="18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41524860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6" name="Google Shape;426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dirty="0"/>
          </a:p>
        </p:txBody>
      </p:sp>
      <p:sp>
        <p:nvSpPr>
          <p:cNvPr id="427" name="Google Shape;427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0" name="Google Shape;920;g8d33981a46_0_5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21" name="Google Shape;921;g8d33981a46_0_55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922" name="Google Shape;922;g8d33981a46_0_55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>
                <a:latin typeface="Lato"/>
                <a:ea typeface="Lato"/>
                <a:cs typeface="Lato"/>
                <a:sym typeface="Lato"/>
              </a:rPr>
              <a:t>21</a:t>
            </a:fld>
            <a:endParaRPr dirty="0"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2" name="Google Shape;932;g8f46420877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33" name="Google Shape;933;g8f46420877_0_4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934" name="Google Shape;934;g8f46420877_0_4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>
                <a:latin typeface="Lato"/>
                <a:ea typeface="Lato"/>
                <a:cs typeface="Lato"/>
                <a:sym typeface="Lato"/>
              </a:rPr>
              <a:t>22</a:t>
            </a:fld>
            <a:endParaRPr dirty="0"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4" name="Google Shape;804;g8d33981a46_0_3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05" name="Google Shape;805;g8d33981a46_0_30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806" name="Google Shape;806;g8d33981a46_0_30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en-IN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24</a:t>
            </a:fld>
            <a:endParaRPr kumimoji="0" sz="18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383953413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Google Shape;1041;g8fa4a79d6a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2" name="Google Shape;1042;g8fa4a79d6a_0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043" name="Google Shape;1043;g8fa4a79d6a_0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>
                <a:latin typeface="Lato"/>
                <a:ea typeface="Lato"/>
                <a:cs typeface="Lato"/>
                <a:sym typeface="Lato"/>
              </a:rPr>
              <a:t>25</a:t>
            </a:fld>
            <a:endParaRPr dirty="0"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7" name="Google Shape;1047;g8fa4a79d6a_0_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8" name="Google Shape;1048;g8fa4a79d6a_0_4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049" name="Google Shape;1049;g8fa4a79d6a_0_4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>
                <a:latin typeface="Lato"/>
                <a:ea typeface="Lato"/>
                <a:cs typeface="Lato"/>
                <a:sym typeface="Lato"/>
              </a:rPr>
              <a:t>26</a:t>
            </a:fld>
            <a:endParaRPr dirty="0"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3" name="Google Shape;1053;g8fa4a79d6a_0_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54" name="Google Shape;1054;g8fa4a79d6a_0_5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055" name="Google Shape;1055;g8fa4a79d6a_0_5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>
                <a:latin typeface="Lato"/>
                <a:ea typeface="Lato"/>
                <a:cs typeface="Lato"/>
                <a:sym typeface="Lato"/>
              </a:rPr>
              <a:t>27</a:t>
            </a:fld>
            <a:endParaRPr dirty="0"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9" name="Google Shape;1059;g8fa4a79d6a_0_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0" name="Google Shape;1060;g8fa4a79d6a_0_5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061" name="Google Shape;1061;g8fa4a79d6a_0_5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>
                <a:latin typeface="Lato"/>
                <a:ea typeface="Lato"/>
                <a:cs typeface="Lato"/>
                <a:sym typeface="Lato"/>
              </a:rPr>
              <a:t>28</a:t>
            </a:fld>
            <a:endParaRPr dirty="0"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" name="Google Shape;1065;g8fa4a79d6a_0_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6" name="Google Shape;1066;g8fa4a79d6a_0_6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067" name="Google Shape;1067;g8fa4a79d6a_0_6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>
                <a:latin typeface="Lato"/>
                <a:ea typeface="Lato"/>
                <a:cs typeface="Lato"/>
                <a:sym typeface="Lato"/>
              </a:rPr>
              <a:t>29</a:t>
            </a:fld>
            <a:endParaRPr dirty="0"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1" name="Google Shape;1071;g8f46420877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2" name="Google Shape;1072;g8f46420877_0_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073" name="Google Shape;1073;g8f46420877_0_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>
                <a:latin typeface="Lato"/>
                <a:ea typeface="Lato"/>
                <a:cs typeface="Lato"/>
                <a:sym typeface="Lato"/>
              </a:rPr>
              <a:t>30</a:t>
            </a:fld>
            <a:endParaRPr dirty="0"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3" name="Google Shape;1083;g8f46420877_0_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84" name="Google Shape;1084;g8f46420877_0_6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085" name="Google Shape;1085;g8f46420877_0_6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>
                <a:latin typeface="Lato"/>
                <a:ea typeface="Lato"/>
                <a:cs typeface="Lato"/>
                <a:sym typeface="Lato"/>
              </a:rPr>
              <a:t>31</a:t>
            </a:fld>
            <a:endParaRPr dirty="0"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" name="Google Shape;436;g8d33981a46_0_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37" name="Google Shape;437;g8d33981a46_0_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438" name="Google Shape;438;g8d33981a46_0_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>
                <a:latin typeface="Lato"/>
                <a:ea typeface="Lato"/>
                <a:cs typeface="Lato"/>
                <a:sym typeface="Lato"/>
              </a:rPr>
              <a:t>3</a:t>
            </a:fld>
            <a:endParaRPr dirty="0"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" name="Google Shape;1105;g8f46420877_0_9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06" name="Google Shape;1106;g8f46420877_0_9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107" name="Google Shape;1107;g8f46420877_0_9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>
                <a:latin typeface="Lato"/>
                <a:ea typeface="Lato"/>
                <a:cs typeface="Lato"/>
                <a:sym typeface="Lato"/>
              </a:rPr>
              <a:t>32</a:t>
            </a:fld>
            <a:endParaRPr dirty="0"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" name="Google Shape;1105;g8f46420877_0_9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06" name="Google Shape;1106;g8f46420877_0_9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107" name="Google Shape;1107;g8f46420877_0_9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>
                <a:latin typeface="Lato"/>
                <a:ea typeface="Lato"/>
                <a:cs typeface="Lato"/>
                <a:sym typeface="Lato"/>
              </a:rPr>
              <a:t>33</a:t>
            </a:fld>
            <a:endParaRPr dirty="0">
              <a:latin typeface="Lato"/>
              <a:ea typeface="Lato"/>
              <a:cs typeface="Lato"/>
              <a:sym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42406121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" name="Google Shape;436;g8d33981a46_0_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37" name="Google Shape;437;g8d33981a46_0_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438" name="Google Shape;438;g8d33981a46_0_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en-IN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5</a:t>
            </a:fld>
            <a:endParaRPr kumimoji="0" sz="18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10520168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2" name="Google Shape;592;g8fa4a79d6a_0_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93" name="Google Shape;593;g8fa4a79d6a_0_7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594" name="Google Shape;594;g8fa4a79d6a_0_7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>
                <a:latin typeface="Lato"/>
                <a:ea typeface="Lato"/>
                <a:cs typeface="Lato"/>
                <a:sym typeface="Lato"/>
              </a:rPr>
              <a:t>6</a:t>
            </a:fld>
            <a:endParaRPr dirty="0"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9" name="Google Shape;599;g8d20103625_0_19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00" name="Google Shape;600;g8d20103625_0_19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601" name="Google Shape;601;g8d20103625_0_19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>
                <a:latin typeface="Lato"/>
                <a:ea typeface="Lato"/>
                <a:cs typeface="Lato"/>
                <a:sym typeface="Lato"/>
              </a:rPr>
              <a:t>7</a:t>
            </a:fld>
            <a:endParaRPr dirty="0"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1" name="Google Shape;621;g8d20103625_0_2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22" name="Google Shape;622;g8d20103625_0_27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623" name="Google Shape;623;g8d20103625_0_27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>
                <a:latin typeface="Lato"/>
                <a:ea typeface="Lato"/>
                <a:cs typeface="Lato"/>
                <a:sym typeface="Lato"/>
              </a:rPr>
              <a:t>8</a:t>
            </a:fld>
            <a:endParaRPr dirty="0"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7" name="Google Shape;647;g8d20103625_0_3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48" name="Google Shape;648;g8d20103625_0_32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649" name="Google Shape;649;g8d20103625_0_32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>
                <a:latin typeface="Lato"/>
                <a:ea typeface="Lato"/>
                <a:cs typeface="Lato"/>
                <a:sym typeface="Lato"/>
              </a:rPr>
              <a:t>9</a:t>
            </a:fld>
            <a:endParaRPr dirty="0"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g8d20103625_0_3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72" name="Google Shape;672;g8d20103625_0_36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673" name="Google Shape;673;g8d20103625_0_36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>
                <a:latin typeface="Lato"/>
                <a:ea typeface="Lato"/>
                <a:cs typeface="Lato"/>
                <a:sym typeface="Lato"/>
              </a:rPr>
              <a:t>10</a:t>
            </a:fld>
            <a:endParaRPr dirty="0"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2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openxmlformats.org/officeDocument/2006/relationships/image" Target="../media/image5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500"/>
              <a:buFont typeface="Arial"/>
              <a:buNone/>
              <a:defRPr sz="6000"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2"/>
          <p:cNvSpPr txBox="1"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" name="Google Shape;17;p2"/>
          <p:cNvSpPr txBox="1">
            <a:spLocks noGrp="1"/>
          </p:cNvSpPr>
          <p:nvPr>
            <p:ph type="dt" idx="10"/>
          </p:nvPr>
        </p:nvSpPr>
        <p:spPr>
          <a:xfrm>
            <a:off x="885228" y="6205183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E72D40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18" name="Google Shape;18;p2"/>
          <p:cNvSpPr txBox="1">
            <a:spLocks noGrp="1"/>
          </p:cNvSpPr>
          <p:nvPr>
            <p:ph type="sldNum" idx="12"/>
          </p:nvPr>
        </p:nvSpPr>
        <p:spPr>
          <a:xfrm>
            <a:off x="8822635" y="5349875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E72D40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E72D40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E72D40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E72D40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E72D40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E72D40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E72D40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E72D40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E72D40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9" name="Google Shape;19;p2"/>
          <p:cNvSpPr/>
          <p:nvPr/>
        </p:nvSpPr>
        <p:spPr>
          <a:xfrm>
            <a:off x="0" y="0"/>
            <a:ext cx="12192000" cy="6205200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13"/>
              <a:buFont typeface="Arial"/>
              <a:buNone/>
            </a:pPr>
            <a:endParaRPr sz="1351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" name="Google Shape;20;p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85230" y="762517"/>
            <a:ext cx="2743201" cy="73199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orient="horz" pos="504" userDrawn="1">
          <p15:clr>
            <a:srgbClr val="FBAE40"/>
          </p15:clr>
        </p15:guide>
        <p15:guide id="3" orient="horz" pos="1231" userDrawn="1">
          <p15:clr>
            <a:srgbClr val="FBAE40"/>
          </p15:clr>
        </p15:guide>
        <p15:guide id="4" orient="horz" pos="2341" userDrawn="1">
          <p15:clr>
            <a:srgbClr val="FBAE40"/>
          </p15:clr>
        </p15:guide>
        <p15:guide id="5" pos="4431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Section Header">
  <p:cSld name="5_Section Header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11"/>
          <p:cNvSpPr/>
          <p:nvPr/>
        </p:nvSpPr>
        <p:spPr>
          <a:xfrm>
            <a:off x="0" y="0"/>
            <a:ext cx="12192000" cy="4041600"/>
          </a:xfrm>
          <a:prstGeom prst="rect">
            <a:avLst/>
          </a:prstGeom>
          <a:solidFill>
            <a:srgbClr val="F5333F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13"/>
              <a:buFont typeface="Arial"/>
              <a:buNone/>
            </a:pPr>
            <a:endParaRPr sz="1351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" name="Google Shape;127;p11"/>
          <p:cNvSpPr/>
          <p:nvPr/>
        </p:nvSpPr>
        <p:spPr>
          <a:xfrm>
            <a:off x="839788" y="3409244"/>
            <a:ext cx="10522400" cy="1102000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13"/>
              <a:buFont typeface="Arial"/>
              <a:buNone/>
            </a:pPr>
            <a:endParaRPr sz="1351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28" name="Google Shape;128;p11"/>
          <p:cNvGrpSpPr/>
          <p:nvPr/>
        </p:nvGrpSpPr>
        <p:grpSpPr>
          <a:xfrm>
            <a:off x="1326433" y="4027921"/>
            <a:ext cx="1033456" cy="233043"/>
            <a:chOff x="1326382" y="4041646"/>
            <a:chExt cx="2597494" cy="653145"/>
          </a:xfrm>
        </p:grpSpPr>
        <p:sp>
          <p:nvSpPr>
            <p:cNvPr id="129" name="Google Shape;129;p11"/>
            <p:cNvSpPr/>
            <p:nvPr/>
          </p:nvSpPr>
          <p:spPr>
            <a:xfrm>
              <a:off x="1326382" y="4041646"/>
              <a:ext cx="653100" cy="6531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F533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13"/>
                <a:buFont typeface="Arial"/>
                <a:buNone/>
              </a:pPr>
              <a:endParaRPr sz="1351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130;p11"/>
            <p:cNvSpPr/>
            <p:nvPr/>
          </p:nvSpPr>
          <p:spPr>
            <a:xfrm>
              <a:off x="1974500" y="4041646"/>
              <a:ext cx="653100" cy="6531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F533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13"/>
                <a:buFont typeface="Arial"/>
                <a:buNone/>
              </a:pPr>
              <a:endParaRPr sz="1351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131;p11"/>
            <p:cNvSpPr/>
            <p:nvPr/>
          </p:nvSpPr>
          <p:spPr>
            <a:xfrm>
              <a:off x="2622617" y="4041646"/>
              <a:ext cx="653100" cy="6531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F533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13"/>
                <a:buFont typeface="Arial"/>
                <a:buNone/>
              </a:pPr>
              <a:endParaRPr sz="1351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132;p11"/>
            <p:cNvSpPr/>
            <p:nvPr/>
          </p:nvSpPr>
          <p:spPr>
            <a:xfrm>
              <a:off x="3270737" y="4041646"/>
              <a:ext cx="653100" cy="6531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F533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13"/>
                <a:buFont typeface="Arial"/>
                <a:buNone/>
              </a:pPr>
              <a:endParaRPr sz="1351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133;p11"/>
            <p:cNvSpPr/>
            <p:nvPr/>
          </p:nvSpPr>
          <p:spPr>
            <a:xfrm>
              <a:off x="3597306" y="4041650"/>
              <a:ext cx="326570" cy="653141"/>
            </a:xfrm>
            <a:custGeom>
              <a:avLst/>
              <a:gdLst/>
              <a:ahLst/>
              <a:cxnLst/>
              <a:rect l="l" t="t" r="r" b="b"/>
              <a:pathLst>
                <a:path w="326570" h="653141" extrusionOk="0">
                  <a:moveTo>
                    <a:pt x="0" y="0"/>
                  </a:moveTo>
                  <a:lnTo>
                    <a:pt x="77091" y="249480"/>
                  </a:lnTo>
                  <a:lnTo>
                    <a:pt x="326570" y="249478"/>
                  </a:lnTo>
                  <a:lnTo>
                    <a:pt x="124736" y="403663"/>
                  </a:lnTo>
                  <a:lnTo>
                    <a:pt x="201831" y="653141"/>
                  </a:lnTo>
                  <a:lnTo>
                    <a:pt x="0" y="498953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13"/>
                <a:buFont typeface="Arial"/>
                <a:buNone/>
              </a:pPr>
              <a:endParaRPr sz="1351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4" name="Google Shape;134;p11"/>
          <p:cNvSpPr txBox="1">
            <a:spLocks noGrp="1"/>
          </p:cNvSpPr>
          <p:nvPr>
            <p:ph type="body" idx="1"/>
          </p:nvPr>
        </p:nvSpPr>
        <p:spPr>
          <a:xfrm>
            <a:off x="1372541" y="3628271"/>
            <a:ext cx="1128800" cy="3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5" name="Google Shape;135;p11"/>
          <p:cNvSpPr txBox="1">
            <a:spLocks noGrp="1"/>
          </p:cNvSpPr>
          <p:nvPr>
            <p:ph type="body" idx="2"/>
          </p:nvPr>
        </p:nvSpPr>
        <p:spPr>
          <a:xfrm>
            <a:off x="2562459" y="4021352"/>
            <a:ext cx="1262000" cy="24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6" name="Google Shape;136;p11"/>
          <p:cNvSpPr txBox="1">
            <a:spLocks noGrp="1"/>
          </p:cNvSpPr>
          <p:nvPr>
            <p:ph type="body" idx="3"/>
          </p:nvPr>
        </p:nvSpPr>
        <p:spPr>
          <a:xfrm>
            <a:off x="3824572" y="4952909"/>
            <a:ext cx="3295600" cy="17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7" name="Google Shape;137;p11"/>
          <p:cNvSpPr txBox="1">
            <a:spLocks noGrp="1"/>
          </p:cNvSpPr>
          <p:nvPr>
            <p:ph type="dt" idx="10"/>
          </p:nvPr>
        </p:nvSpPr>
        <p:spPr>
          <a:xfrm>
            <a:off x="848989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138" name="Google Shape;138;p11"/>
          <p:cNvSpPr txBox="1">
            <a:spLocks noGrp="1"/>
          </p:cNvSpPr>
          <p:nvPr>
            <p:ph type="sldNum" idx="12"/>
          </p:nvPr>
        </p:nvSpPr>
        <p:spPr>
          <a:xfrm>
            <a:off x="8621389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139" name="Google Shape;139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49227" y="404813"/>
            <a:ext cx="1213040" cy="323851"/>
          </a:xfrm>
          <a:prstGeom prst="rect">
            <a:avLst/>
          </a:prstGeom>
          <a:noFill/>
          <a:ln>
            <a:noFill/>
          </a:ln>
        </p:spPr>
      </p:pic>
      <p:sp>
        <p:nvSpPr>
          <p:cNvPr id="140" name="Google Shape;140;p11"/>
          <p:cNvSpPr/>
          <p:nvPr/>
        </p:nvSpPr>
        <p:spPr>
          <a:xfrm>
            <a:off x="0" y="0"/>
            <a:ext cx="12192000" cy="4041600"/>
          </a:xfrm>
          <a:prstGeom prst="rect">
            <a:avLst/>
          </a:prstGeom>
          <a:solidFill>
            <a:srgbClr val="F5333F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13"/>
              <a:buFont typeface="Arial"/>
              <a:buNone/>
            </a:pPr>
            <a:endParaRPr sz="1351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" name="Google Shape;141;p11"/>
          <p:cNvSpPr/>
          <p:nvPr/>
        </p:nvSpPr>
        <p:spPr>
          <a:xfrm>
            <a:off x="839788" y="3380319"/>
            <a:ext cx="10585600" cy="1131200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13"/>
              <a:buFont typeface="Arial"/>
              <a:buNone/>
            </a:pPr>
            <a:endParaRPr sz="1351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42" name="Google Shape;142;p11"/>
          <p:cNvGrpSpPr/>
          <p:nvPr/>
        </p:nvGrpSpPr>
        <p:grpSpPr>
          <a:xfrm>
            <a:off x="1231603" y="4027921"/>
            <a:ext cx="1033456" cy="233043"/>
            <a:chOff x="1326382" y="4041646"/>
            <a:chExt cx="2597494" cy="653145"/>
          </a:xfrm>
        </p:grpSpPr>
        <p:sp>
          <p:nvSpPr>
            <p:cNvPr id="143" name="Google Shape;143;p11"/>
            <p:cNvSpPr/>
            <p:nvPr/>
          </p:nvSpPr>
          <p:spPr>
            <a:xfrm>
              <a:off x="1326382" y="4041646"/>
              <a:ext cx="653100" cy="6531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F533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13"/>
                <a:buFont typeface="Arial"/>
                <a:buNone/>
              </a:pPr>
              <a:endParaRPr sz="1351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144;p11"/>
            <p:cNvSpPr/>
            <p:nvPr/>
          </p:nvSpPr>
          <p:spPr>
            <a:xfrm>
              <a:off x="1974500" y="4041646"/>
              <a:ext cx="653100" cy="6531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F533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13"/>
                <a:buFont typeface="Arial"/>
                <a:buNone/>
              </a:pPr>
              <a:endParaRPr sz="1351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145;p11"/>
            <p:cNvSpPr/>
            <p:nvPr/>
          </p:nvSpPr>
          <p:spPr>
            <a:xfrm>
              <a:off x="2622617" y="4041646"/>
              <a:ext cx="653100" cy="6531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F533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13"/>
                <a:buFont typeface="Arial"/>
                <a:buNone/>
              </a:pPr>
              <a:endParaRPr sz="1351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146;p11"/>
            <p:cNvSpPr/>
            <p:nvPr/>
          </p:nvSpPr>
          <p:spPr>
            <a:xfrm>
              <a:off x="3270737" y="4041646"/>
              <a:ext cx="653100" cy="6531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F533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13"/>
                <a:buFont typeface="Arial"/>
                <a:buNone/>
              </a:pPr>
              <a:endParaRPr sz="1351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147;p11"/>
            <p:cNvSpPr/>
            <p:nvPr/>
          </p:nvSpPr>
          <p:spPr>
            <a:xfrm>
              <a:off x="3597306" y="4041650"/>
              <a:ext cx="326570" cy="653141"/>
            </a:xfrm>
            <a:custGeom>
              <a:avLst/>
              <a:gdLst/>
              <a:ahLst/>
              <a:cxnLst/>
              <a:rect l="l" t="t" r="r" b="b"/>
              <a:pathLst>
                <a:path w="326570" h="653141" extrusionOk="0">
                  <a:moveTo>
                    <a:pt x="0" y="0"/>
                  </a:moveTo>
                  <a:lnTo>
                    <a:pt x="77091" y="249480"/>
                  </a:lnTo>
                  <a:lnTo>
                    <a:pt x="326570" y="249478"/>
                  </a:lnTo>
                  <a:lnTo>
                    <a:pt x="124736" y="403663"/>
                  </a:lnTo>
                  <a:lnTo>
                    <a:pt x="201831" y="653141"/>
                  </a:lnTo>
                  <a:lnTo>
                    <a:pt x="0" y="498953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13"/>
                <a:buFont typeface="Arial"/>
                <a:buNone/>
              </a:pPr>
              <a:endParaRPr sz="1351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8" name="Google Shape;148;p11"/>
          <p:cNvSpPr txBox="1">
            <a:spLocks noGrp="1"/>
          </p:cNvSpPr>
          <p:nvPr>
            <p:ph type="body" idx="4"/>
          </p:nvPr>
        </p:nvSpPr>
        <p:spPr>
          <a:xfrm>
            <a:off x="1277711" y="3628271"/>
            <a:ext cx="1128800" cy="3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9" name="Google Shape;149;p11"/>
          <p:cNvSpPr txBox="1">
            <a:spLocks noGrp="1"/>
          </p:cNvSpPr>
          <p:nvPr>
            <p:ph type="body" idx="5"/>
          </p:nvPr>
        </p:nvSpPr>
        <p:spPr>
          <a:xfrm>
            <a:off x="2467628" y="4021352"/>
            <a:ext cx="1262000" cy="24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0" name="Google Shape;150;p11"/>
          <p:cNvSpPr txBox="1">
            <a:spLocks noGrp="1"/>
          </p:cNvSpPr>
          <p:nvPr>
            <p:ph type="title"/>
          </p:nvPr>
        </p:nvSpPr>
        <p:spPr>
          <a:xfrm>
            <a:off x="840317" y="800100"/>
            <a:ext cx="8329200" cy="59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1" name="Google Shape;151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72384" y="280085"/>
            <a:ext cx="1084840" cy="2896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04" userDrawn="1">
          <p15:clr>
            <a:srgbClr val="FBAE40"/>
          </p15:clr>
        </p15:guide>
        <p15:guide id="2" orient="horz" pos="2947" userDrawn="1">
          <p15:clr>
            <a:srgbClr val="FBAE40"/>
          </p15:clr>
        </p15:guide>
        <p15:guide id="3" orient="horz" pos="2840" userDrawn="1">
          <p15:clr>
            <a:srgbClr val="FBAE40"/>
          </p15:clr>
        </p15:guide>
        <p15:guide id="4" orient="horz" pos="2129" userDrawn="1">
          <p15:clr>
            <a:srgbClr val="FBAE40"/>
          </p15:clr>
        </p15:guide>
        <p15:guide id="5" orient="horz" pos="3521" userDrawn="1">
          <p15:clr>
            <a:srgbClr val="FBAE40"/>
          </p15:clr>
        </p15:guide>
        <p15:guide id="6" pos="1512" userDrawn="1">
          <p15:clr>
            <a:srgbClr val="FBAE40"/>
          </p15:clr>
        </p15:guide>
        <p15:guide id="7" pos="577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TImeline Infographic">
  <p:cSld name="Title and TImeline Infographic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Google Shape;153;p12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154" name="Google Shape;154;p12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155" name="Google Shape;155;p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 flipH="1">
            <a:off x="843333" y="3964830"/>
            <a:ext cx="10254900" cy="890581"/>
          </a:xfrm>
          <a:prstGeom prst="rect">
            <a:avLst/>
          </a:prstGeom>
          <a:noFill/>
          <a:ln>
            <a:noFill/>
          </a:ln>
        </p:spPr>
      </p:pic>
      <p:sp>
        <p:nvSpPr>
          <p:cNvPr id="156" name="Google Shape;156;p12"/>
          <p:cNvSpPr txBox="1">
            <a:spLocks noGrp="1"/>
          </p:cNvSpPr>
          <p:nvPr>
            <p:ph type="body" idx="1"/>
          </p:nvPr>
        </p:nvSpPr>
        <p:spPr>
          <a:xfrm>
            <a:off x="1322333" y="2328535"/>
            <a:ext cx="987200" cy="3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DDDDD"/>
              </a:buClr>
              <a:buSzPts val="2000"/>
              <a:buFont typeface="Arial"/>
              <a:buNone/>
              <a:defRPr sz="2667" b="1" i="0" u="none" strike="noStrike" cap="none">
                <a:solidFill>
                  <a:srgbClr val="DDDDDD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7" name="Google Shape;157;p12"/>
          <p:cNvSpPr txBox="1">
            <a:spLocks noGrp="1"/>
          </p:cNvSpPr>
          <p:nvPr>
            <p:ph type="body" idx="2"/>
          </p:nvPr>
        </p:nvSpPr>
        <p:spPr>
          <a:xfrm>
            <a:off x="1322333" y="2741921"/>
            <a:ext cx="1766400" cy="22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DDDDD"/>
              </a:buClr>
              <a:buSzPts val="1100"/>
              <a:buFont typeface="Arial"/>
              <a:buNone/>
              <a:defRPr sz="1467" b="1" i="0" u="none" strike="noStrike" cap="none">
                <a:solidFill>
                  <a:srgbClr val="DDDDDD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8" name="Google Shape;158;p12"/>
          <p:cNvSpPr txBox="1">
            <a:spLocks noGrp="1"/>
          </p:cNvSpPr>
          <p:nvPr>
            <p:ph type="body" idx="3"/>
          </p:nvPr>
        </p:nvSpPr>
        <p:spPr>
          <a:xfrm>
            <a:off x="1322333" y="3042255"/>
            <a:ext cx="1532800" cy="22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9" name="Google Shape;159;p12"/>
          <p:cNvSpPr txBox="1">
            <a:spLocks noGrp="1"/>
          </p:cNvSpPr>
          <p:nvPr>
            <p:ph type="body" idx="4"/>
          </p:nvPr>
        </p:nvSpPr>
        <p:spPr>
          <a:xfrm>
            <a:off x="3253983" y="2328535"/>
            <a:ext cx="987200" cy="3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6303E"/>
              </a:buClr>
              <a:buSzPts val="2000"/>
              <a:buFont typeface="Arial"/>
              <a:buNone/>
              <a:defRPr sz="2667" b="1" i="0" u="none" strike="noStrike" cap="none">
                <a:solidFill>
                  <a:srgbClr val="F6303E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0" name="Google Shape;160;p12"/>
          <p:cNvSpPr txBox="1">
            <a:spLocks noGrp="1"/>
          </p:cNvSpPr>
          <p:nvPr>
            <p:ph type="body" idx="5"/>
          </p:nvPr>
        </p:nvSpPr>
        <p:spPr>
          <a:xfrm>
            <a:off x="3253983" y="2741921"/>
            <a:ext cx="1766400" cy="22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6303E"/>
              </a:buClr>
              <a:buSzPts val="1100"/>
              <a:buFont typeface="Arial"/>
              <a:buNone/>
              <a:defRPr sz="1467" b="1" i="0" u="none" strike="noStrike" cap="none">
                <a:solidFill>
                  <a:srgbClr val="F6303E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1" name="Google Shape;161;p12"/>
          <p:cNvSpPr txBox="1">
            <a:spLocks noGrp="1"/>
          </p:cNvSpPr>
          <p:nvPr>
            <p:ph type="body" idx="6"/>
          </p:nvPr>
        </p:nvSpPr>
        <p:spPr>
          <a:xfrm>
            <a:off x="3253983" y="3042255"/>
            <a:ext cx="1532800" cy="22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2" name="Google Shape;162;p12"/>
          <p:cNvSpPr txBox="1">
            <a:spLocks noGrp="1"/>
          </p:cNvSpPr>
          <p:nvPr>
            <p:ph type="body" idx="7"/>
          </p:nvPr>
        </p:nvSpPr>
        <p:spPr>
          <a:xfrm>
            <a:off x="5189729" y="2328535"/>
            <a:ext cx="987200" cy="3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1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3" name="Google Shape;163;p12"/>
          <p:cNvSpPr txBox="1">
            <a:spLocks noGrp="1"/>
          </p:cNvSpPr>
          <p:nvPr>
            <p:ph type="body" idx="8"/>
          </p:nvPr>
        </p:nvSpPr>
        <p:spPr>
          <a:xfrm>
            <a:off x="5189729" y="2741921"/>
            <a:ext cx="1766400" cy="22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1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4" name="Google Shape;164;p12"/>
          <p:cNvSpPr txBox="1">
            <a:spLocks noGrp="1"/>
          </p:cNvSpPr>
          <p:nvPr>
            <p:ph type="body" idx="9"/>
          </p:nvPr>
        </p:nvSpPr>
        <p:spPr>
          <a:xfrm>
            <a:off x="5189729" y="3042255"/>
            <a:ext cx="1532800" cy="22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5" name="Google Shape;165;p12"/>
          <p:cNvSpPr txBox="1">
            <a:spLocks noGrp="1"/>
          </p:cNvSpPr>
          <p:nvPr>
            <p:ph type="body" idx="13"/>
          </p:nvPr>
        </p:nvSpPr>
        <p:spPr>
          <a:xfrm>
            <a:off x="7102532" y="2328535"/>
            <a:ext cx="987200" cy="3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CCCCC"/>
              </a:buClr>
              <a:buSzPts val="2000"/>
              <a:buFont typeface="Arial"/>
              <a:buNone/>
              <a:defRPr sz="2667" b="1" i="0" u="none" strike="noStrike" cap="none">
                <a:solidFill>
                  <a:srgbClr val="CCCCCC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6" name="Google Shape;166;p12"/>
          <p:cNvSpPr txBox="1">
            <a:spLocks noGrp="1"/>
          </p:cNvSpPr>
          <p:nvPr>
            <p:ph type="body" idx="14"/>
          </p:nvPr>
        </p:nvSpPr>
        <p:spPr>
          <a:xfrm>
            <a:off x="7102532" y="2741921"/>
            <a:ext cx="1766400" cy="22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CCCCC"/>
              </a:buClr>
              <a:buSzPts val="1100"/>
              <a:buFont typeface="Arial"/>
              <a:buNone/>
              <a:defRPr sz="1467" b="1" i="0" u="none" strike="noStrike" cap="none">
                <a:solidFill>
                  <a:srgbClr val="CCCCCC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7" name="Google Shape;167;p12"/>
          <p:cNvSpPr txBox="1">
            <a:spLocks noGrp="1"/>
          </p:cNvSpPr>
          <p:nvPr>
            <p:ph type="body" idx="15"/>
          </p:nvPr>
        </p:nvSpPr>
        <p:spPr>
          <a:xfrm>
            <a:off x="7102532" y="3042255"/>
            <a:ext cx="1532800" cy="22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8" name="Google Shape;168;p12"/>
          <p:cNvSpPr txBox="1">
            <a:spLocks noGrp="1"/>
          </p:cNvSpPr>
          <p:nvPr>
            <p:ph type="body" idx="16"/>
          </p:nvPr>
        </p:nvSpPr>
        <p:spPr>
          <a:xfrm>
            <a:off x="8980215" y="2328535"/>
            <a:ext cx="987200" cy="3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6303E"/>
              </a:buClr>
              <a:buSzPts val="2000"/>
              <a:buFont typeface="Arial"/>
              <a:buNone/>
              <a:defRPr sz="2667" b="1" i="0" u="none" strike="noStrike" cap="none">
                <a:solidFill>
                  <a:srgbClr val="F6303E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9" name="Google Shape;169;p12"/>
          <p:cNvSpPr txBox="1">
            <a:spLocks noGrp="1"/>
          </p:cNvSpPr>
          <p:nvPr>
            <p:ph type="body" idx="17"/>
          </p:nvPr>
        </p:nvSpPr>
        <p:spPr>
          <a:xfrm>
            <a:off x="8980215" y="2741921"/>
            <a:ext cx="1766400" cy="22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6303E"/>
              </a:buClr>
              <a:buSzPts val="1100"/>
              <a:buFont typeface="Arial"/>
              <a:buNone/>
              <a:defRPr sz="1467" b="1" i="0" u="none" strike="noStrike" cap="none">
                <a:solidFill>
                  <a:srgbClr val="F6303E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0" name="Google Shape;170;p12"/>
          <p:cNvSpPr txBox="1">
            <a:spLocks noGrp="1"/>
          </p:cNvSpPr>
          <p:nvPr>
            <p:ph type="body" idx="18"/>
          </p:nvPr>
        </p:nvSpPr>
        <p:spPr>
          <a:xfrm>
            <a:off x="8980215" y="3042255"/>
            <a:ext cx="1532800" cy="22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1" name="Google Shape;171;p12"/>
          <p:cNvSpPr txBox="1">
            <a:spLocks noGrp="1"/>
          </p:cNvSpPr>
          <p:nvPr>
            <p:ph type="body" idx="19"/>
          </p:nvPr>
        </p:nvSpPr>
        <p:spPr>
          <a:xfrm>
            <a:off x="1205421" y="4708865"/>
            <a:ext cx="1766400" cy="4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DDDDD"/>
              </a:buClr>
              <a:buSzPts val="1600"/>
              <a:buFont typeface="Arial"/>
              <a:buNone/>
              <a:defRPr sz="2133" b="1" i="0" u="none" strike="noStrike" cap="none">
                <a:solidFill>
                  <a:srgbClr val="DDDDDD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2" name="Google Shape;172;p12"/>
          <p:cNvSpPr txBox="1">
            <a:spLocks noGrp="1"/>
          </p:cNvSpPr>
          <p:nvPr>
            <p:ph type="body" idx="20"/>
          </p:nvPr>
        </p:nvSpPr>
        <p:spPr>
          <a:xfrm>
            <a:off x="3137069" y="4708865"/>
            <a:ext cx="1804000" cy="4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6303E"/>
              </a:buClr>
              <a:buSzPts val="1600"/>
              <a:buFont typeface="Arial"/>
              <a:buNone/>
              <a:defRPr sz="2133" b="1" i="0" u="none" strike="noStrike" cap="none">
                <a:solidFill>
                  <a:srgbClr val="F6303E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3" name="Google Shape;173;p12"/>
          <p:cNvSpPr txBox="1">
            <a:spLocks noGrp="1"/>
          </p:cNvSpPr>
          <p:nvPr>
            <p:ph type="body" idx="21"/>
          </p:nvPr>
        </p:nvSpPr>
        <p:spPr>
          <a:xfrm>
            <a:off x="5106161" y="4708864"/>
            <a:ext cx="1804000" cy="4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4" name="Google Shape;174;p12"/>
          <p:cNvSpPr txBox="1">
            <a:spLocks noGrp="1"/>
          </p:cNvSpPr>
          <p:nvPr>
            <p:ph type="body" idx="22"/>
          </p:nvPr>
        </p:nvSpPr>
        <p:spPr>
          <a:xfrm>
            <a:off x="7075253" y="4708864"/>
            <a:ext cx="1766400" cy="4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DDDDD"/>
              </a:buClr>
              <a:buSzPts val="1600"/>
              <a:buFont typeface="Arial"/>
              <a:buNone/>
              <a:defRPr sz="2133" b="1" i="0" u="none" strike="noStrike" cap="none">
                <a:solidFill>
                  <a:srgbClr val="DDDDDD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5" name="Google Shape;175;p12"/>
          <p:cNvSpPr txBox="1">
            <a:spLocks noGrp="1"/>
          </p:cNvSpPr>
          <p:nvPr>
            <p:ph type="body" idx="23"/>
          </p:nvPr>
        </p:nvSpPr>
        <p:spPr>
          <a:xfrm>
            <a:off x="9006901" y="4708863"/>
            <a:ext cx="1804000" cy="4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6303E"/>
              </a:buClr>
              <a:buSzPts val="1600"/>
              <a:buFont typeface="Arial"/>
              <a:buNone/>
              <a:defRPr sz="2133" b="1" i="0" u="none" strike="noStrike" cap="none">
                <a:solidFill>
                  <a:srgbClr val="F6303E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176" name="Google Shape;176;p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 flipH="1">
            <a:off x="843333" y="3964830"/>
            <a:ext cx="10254900" cy="890581"/>
          </a:xfrm>
          <a:prstGeom prst="rect">
            <a:avLst/>
          </a:prstGeom>
          <a:noFill/>
          <a:ln>
            <a:noFill/>
          </a:ln>
        </p:spPr>
      </p:pic>
      <p:sp>
        <p:nvSpPr>
          <p:cNvPr id="177" name="Google Shape;177;p12"/>
          <p:cNvSpPr/>
          <p:nvPr/>
        </p:nvSpPr>
        <p:spPr>
          <a:xfrm>
            <a:off x="0" y="0"/>
            <a:ext cx="12192000" cy="849200"/>
          </a:xfrm>
          <a:prstGeom prst="rect">
            <a:avLst/>
          </a:prstGeom>
          <a:solidFill>
            <a:srgbClr val="F5333F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13"/>
              <a:buFont typeface="Arial"/>
              <a:buNone/>
            </a:pPr>
            <a:endParaRPr sz="1351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8" name="Google Shape;178;p12"/>
          <p:cNvSpPr txBox="1">
            <a:spLocks noGrp="1"/>
          </p:cNvSpPr>
          <p:nvPr>
            <p:ph type="title"/>
          </p:nvPr>
        </p:nvSpPr>
        <p:spPr>
          <a:xfrm>
            <a:off x="422239" y="162621"/>
            <a:ext cx="4981200" cy="5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9" name="Google Shape;179;p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72384" y="280085"/>
            <a:ext cx="1084840" cy="2896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Doughnut Chart">
  <p:cSld name="Title and Doughnut Chart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13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182" name="Google Shape;182;p13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83" name="Google Shape;183;p13"/>
          <p:cNvSpPr/>
          <p:nvPr/>
        </p:nvSpPr>
        <p:spPr>
          <a:xfrm>
            <a:off x="0" y="0"/>
            <a:ext cx="12192000" cy="849200"/>
          </a:xfrm>
          <a:prstGeom prst="rect">
            <a:avLst/>
          </a:prstGeom>
          <a:solidFill>
            <a:srgbClr val="F5333F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13"/>
              <a:buFont typeface="Arial"/>
              <a:buNone/>
            </a:pPr>
            <a:endParaRPr sz="1351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4" name="Google Shape;184;p13"/>
          <p:cNvSpPr txBox="1">
            <a:spLocks noGrp="1"/>
          </p:cNvSpPr>
          <p:nvPr>
            <p:ph type="title"/>
          </p:nvPr>
        </p:nvSpPr>
        <p:spPr>
          <a:xfrm>
            <a:off x="422239" y="162621"/>
            <a:ext cx="4981200" cy="5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85" name="Google Shape;185;p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72384" y="280085"/>
            <a:ext cx="1084840" cy="2896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Line Chart">
  <p:cSld name="Title and Line Chart"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Google Shape;187;p14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188" name="Google Shape;188;p14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89" name="Google Shape;189;p14"/>
          <p:cNvSpPr/>
          <p:nvPr/>
        </p:nvSpPr>
        <p:spPr>
          <a:xfrm>
            <a:off x="4227172" y="5474500"/>
            <a:ext cx="2016400" cy="5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0" name="Google Shape;190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901620" y="4379011"/>
            <a:ext cx="1759723" cy="563635"/>
          </a:xfrm>
          <a:prstGeom prst="rect">
            <a:avLst/>
          </a:prstGeom>
          <a:noFill/>
          <a:ln>
            <a:noFill/>
          </a:ln>
        </p:spPr>
      </p:pic>
      <p:pic>
        <p:nvPicPr>
          <p:cNvPr id="191" name="Google Shape;191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812626" y="4309881"/>
            <a:ext cx="1778335" cy="575984"/>
          </a:xfrm>
          <a:prstGeom prst="rect">
            <a:avLst/>
          </a:prstGeom>
          <a:noFill/>
          <a:ln>
            <a:noFill/>
          </a:ln>
        </p:spPr>
      </p:pic>
      <p:sp>
        <p:nvSpPr>
          <p:cNvPr id="192" name="Google Shape;192;p14"/>
          <p:cNvSpPr txBox="1">
            <a:spLocks noGrp="1"/>
          </p:cNvSpPr>
          <p:nvPr>
            <p:ph type="body" idx="1"/>
          </p:nvPr>
        </p:nvSpPr>
        <p:spPr>
          <a:xfrm>
            <a:off x="840317" y="2133599"/>
            <a:ext cx="4242800" cy="40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20"/>
              <a:buFont typeface="Arial"/>
              <a:buNone/>
              <a:defRPr sz="2427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3" name="Google Shape;193;p14"/>
          <p:cNvSpPr txBox="1">
            <a:spLocks noGrp="1"/>
          </p:cNvSpPr>
          <p:nvPr>
            <p:ph type="body" idx="2"/>
          </p:nvPr>
        </p:nvSpPr>
        <p:spPr>
          <a:xfrm>
            <a:off x="7075705" y="4078916"/>
            <a:ext cx="895600" cy="46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6303E"/>
              </a:buClr>
              <a:buSzPts val="2000"/>
              <a:buFont typeface="Arial"/>
              <a:buNone/>
              <a:defRPr sz="2667" b="1" i="0" u="none" strike="noStrike" cap="none">
                <a:solidFill>
                  <a:srgbClr val="F6303E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4" name="Google Shape;194;p14"/>
          <p:cNvSpPr txBox="1">
            <a:spLocks noGrp="1"/>
          </p:cNvSpPr>
          <p:nvPr>
            <p:ph type="body" idx="3"/>
          </p:nvPr>
        </p:nvSpPr>
        <p:spPr>
          <a:xfrm>
            <a:off x="9192148" y="4070304"/>
            <a:ext cx="895600" cy="43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CCCCC"/>
              </a:buClr>
              <a:buSzPts val="2000"/>
              <a:buFont typeface="Arial"/>
              <a:buNone/>
              <a:defRPr sz="2667" b="1" i="0" u="none" strike="noStrike" cap="none">
                <a:solidFill>
                  <a:srgbClr val="CCCCCC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5" name="Google Shape;195;p14"/>
          <p:cNvSpPr txBox="1">
            <a:spLocks noGrp="1"/>
          </p:cNvSpPr>
          <p:nvPr>
            <p:ph type="body" idx="4"/>
          </p:nvPr>
        </p:nvSpPr>
        <p:spPr>
          <a:xfrm>
            <a:off x="7075704" y="4745952"/>
            <a:ext cx="1437200" cy="28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6303E"/>
              </a:buClr>
              <a:buSzPts val="1200"/>
              <a:buFont typeface="Arial"/>
              <a:buNone/>
              <a:defRPr sz="1600" b="1" i="0" u="none" strike="noStrike" cap="none">
                <a:solidFill>
                  <a:srgbClr val="F6303E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6" name="Google Shape;196;p14"/>
          <p:cNvSpPr txBox="1">
            <a:spLocks noGrp="1"/>
          </p:cNvSpPr>
          <p:nvPr>
            <p:ph type="body" idx="5"/>
          </p:nvPr>
        </p:nvSpPr>
        <p:spPr>
          <a:xfrm>
            <a:off x="7065792" y="5085056"/>
            <a:ext cx="1437200" cy="106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7" name="Google Shape;197;p14"/>
          <p:cNvSpPr txBox="1">
            <a:spLocks noGrp="1"/>
          </p:cNvSpPr>
          <p:nvPr>
            <p:ph type="body" idx="6"/>
          </p:nvPr>
        </p:nvSpPr>
        <p:spPr>
          <a:xfrm>
            <a:off x="9186785" y="4745952"/>
            <a:ext cx="1437200" cy="28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6303E"/>
              </a:buClr>
              <a:buSzPts val="1200"/>
              <a:buFont typeface="Arial"/>
              <a:buNone/>
              <a:defRPr sz="1600" b="1" i="0" u="none" strike="noStrike" cap="none">
                <a:solidFill>
                  <a:srgbClr val="F6303E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8" name="Google Shape;198;p14"/>
          <p:cNvSpPr txBox="1">
            <a:spLocks noGrp="1"/>
          </p:cNvSpPr>
          <p:nvPr>
            <p:ph type="body" idx="7"/>
          </p:nvPr>
        </p:nvSpPr>
        <p:spPr>
          <a:xfrm>
            <a:off x="9176873" y="5085056"/>
            <a:ext cx="1437200" cy="106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9" name="Google Shape;199;p14"/>
          <p:cNvSpPr>
            <a:spLocks noGrp="1"/>
          </p:cNvSpPr>
          <p:nvPr>
            <p:ph type="chart" idx="8"/>
          </p:nvPr>
        </p:nvSpPr>
        <p:spPr>
          <a:xfrm>
            <a:off x="7061200" y="2133600"/>
            <a:ext cx="4301200" cy="177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00" name="Google Shape;200;p14"/>
          <p:cNvSpPr/>
          <p:nvPr/>
        </p:nvSpPr>
        <p:spPr>
          <a:xfrm>
            <a:off x="4227172" y="5474500"/>
            <a:ext cx="2016400" cy="5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1" name="Google Shape;201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901620" y="4379011"/>
            <a:ext cx="1759723" cy="563635"/>
          </a:xfrm>
          <a:prstGeom prst="rect">
            <a:avLst/>
          </a:prstGeom>
          <a:noFill/>
          <a:ln>
            <a:noFill/>
          </a:ln>
        </p:spPr>
      </p:pic>
      <p:pic>
        <p:nvPicPr>
          <p:cNvPr id="202" name="Google Shape;202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812626" y="4309881"/>
            <a:ext cx="1778335" cy="575984"/>
          </a:xfrm>
          <a:prstGeom prst="rect">
            <a:avLst/>
          </a:prstGeom>
          <a:noFill/>
          <a:ln>
            <a:noFill/>
          </a:ln>
        </p:spPr>
      </p:pic>
      <p:sp>
        <p:nvSpPr>
          <p:cNvPr id="203" name="Google Shape;203;p14"/>
          <p:cNvSpPr/>
          <p:nvPr/>
        </p:nvSpPr>
        <p:spPr>
          <a:xfrm>
            <a:off x="0" y="0"/>
            <a:ext cx="12192000" cy="849200"/>
          </a:xfrm>
          <a:prstGeom prst="rect">
            <a:avLst/>
          </a:prstGeom>
          <a:solidFill>
            <a:srgbClr val="F5333F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13"/>
              <a:buFont typeface="Arial"/>
              <a:buNone/>
            </a:pPr>
            <a:endParaRPr sz="1351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4" name="Google Shape;204;p14"/>
          <p:cNvSpPr txBox="1">
            <a:spLocks noGrp="1"/>
          </p:cNvSpPr>
          <p:nvPr>
            <p:ph type="title"/>
          </p:nvPr>
        </p:nvSpPr>
        <p:spPr>
          <a:xfrm>
            <a:off x="422239" y="162621"/>
            <a:ext cx="4981200" cy="5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05" name="Google Shape;205;p1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572384" y="280085"/>
            <a:ext cx="1084840" cy="2896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  <p15:guide id="2" orient="horz" pos="1344" userDrawn="1">
          <p15:clr>
            <a:srgbClr val="FBAE40"/>
          </p15:clr>
        </p15:guide>
        <p15:guide id="3" orient="horz" pos="3672" userDrawn="1">
          <p15:clr>
            <a:srgbClr val="FBAE40"/>
          </p15:clr>
        </p15:guide>
        <p15:guide id="4" pos="320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Doughnut Chart 2">
  <p:cSld name="Title and Doughnut Chart 2"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15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08" name="Google Shape;208;p15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209" name="Google Shape;209;p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614159" y="2623521"/>
            <a:ext cx="3672408" cy="1878651"/>
          </a:xfrm>
          <a:prstGeom prst="rect">
            <a:avLst/>
          </a:prstGeom>
          <a:noFill/>
          <a:ln>
            <a:noFill/>
          </a:ln>
        </p:spPr>
      </p:pic>
      <p:pic>
        <p:nvPicPr>
          <p:cNvPr id="210" name="Google Shape;210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4212" y="2273968"/>
            <a:ext cx="5630485" cy="288032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1" name="Google Shape;211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723396" y="2262789"/>
            <a:ext cx="5630485" cy="288032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p15"/>
          <p:cNvSpPr txBox="1">
            <a:spLocks noGrp="1"/>
          </p:cNvSpPr>
          <p:nvPr>
            <p:ph type="body" idx="1"/>
          </p:nvPr>
        </p:nvSpPr>
        <p:spPr>
          <a:xfrm>
            <a:off x="3048928" y="3429000"/>
            <a:ext cx="1766400" cy="3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3200"/>
              <a:buFont typeface="Arial"/>
              <a:buNone/>
              <a:defRPr sz="4267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13" name="Google Shape;213;p15"/>
          <p:cNvSpPr txBox="1">
            <a:spLocks noGrp="1"/>
          </p:cNvSpPr>
          <p:nvPr>
            <p:ph type="body" idx="2"/>
          </p:nvPr>
        </p:nvSpPr>
        <p:spPr>
          <a:xfrm>
            <a:off x="3048928" y="3919160"/>
            <a:ext cx="1766400" cy="3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000"/>
              <a:buFont typeface="Arial"/>
              <a:buNone/>
              <a:defRPr sz="1333" b="0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14" name="Google Shape;214;p15"/>
          <p:cNvSpPr txBox="1">
            <a:spLocks noGrp="1"/>
          </p:cNvSpPr>
          <p:nvPr>
            <p:ph type="body" idx="3"/>
          </p:nvPr>
        </p:nvSpPr>
        <p:spPr>
          <a:xfrm>
            <a:off x="6631113" y="3429000"/>
            <a:ext cx="1766400" cy="3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3200"/>
              <a:buFont typeface="Arial"/>
              <a:buNone/>
              <a:defRPr sz="4267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15" name="Google Shape;215;p15"/>
          <p:cNvSpPr txBox="1">
            <a:spLocks noGrp="1"/>
          </p:cNvSpPr>
          <p:nvPr>
            <p:ph type="body" idx="4"/>
          </p:nvPr>
        </p:nvSpPr>
        <p:spPr>
          <a:xfrm>
            <a:off x="6631113" y="3919160"/>
            <a:ext cx="1766400" cy="3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000"/>
              <a:buFont typeface="Arial"/>
              <a:buNone/>
              <a:defRPr sz="1333" b="0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216" name="Google Shape;216;p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614159" y="2623521"/>
            <a:ext cx="3672408" cy="1878651"/>
          </a:xfrm>
          <a:prstGeom prst="rect">
            <a:avLst/>
          </a:prstGeom>
          <a:noFill/>
          <a:ln>
            <a:noFill/>
          </a:ln>
        </p:spPr>
      </p:pic>
      <p:pic>
        <p:nvPicPr>
          <p:cNvPr id="217" name="Google Shape;217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4212" y="2273968"/>
            <a:ext cx="5630485" cy="288032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8" name="Google Shape;218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723396" y="2262789"/>
            <a:ext cx="5630485" cy="2880320"/>
          </a:xfrm>
          <a:prstGeom prst="rect">
            <a:avLst/>
          </a:prstGeom>
          <a:noFill/>
          <a:ln>
            <a:noFill/>
          </a:ln>
        </p:spPr>
      </p:pic>
      <p:sp>
        <p:nvSpPr>
          <p:cNvPr id="219" name="Google Shape;219;p15"/>
          <p:cNvSpPr/>
          <p:nvPr/>
        </p:nvSpPr>
        <p:spPr>
          <a:xfrm>
            <a:off x="0" y="0"/>
            <a:ext cx="12192000" cy="849200"/>
          </a:xfrm>
          <a:prstGeom prst="rect">
            <a:avLst/>
          </a:prstGeom>
          <a:solidFill>
            <a:srgbClr val="F5333F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13"/>
              <a:buFont typeface="Arial"/>
              <a:buNone/>
            </a:pPr>
            <a:endParaRPr sz="1351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0" name="Google Shape;220;p15"/>
          <p:cNvSpPr txBox="1">
            <a:spLocks noGrp="1"/>
          </p:cNvSpPr>
          <p:nvPr>
            <p:ph type="title"/>
          </p:nvPr>
        </p:nvSpPr>
        <p:spPr>
          <a:xfrm>
            <a:off x="422239" y="162621"/>
            <a:ext cx="4981200" cy="5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21" name="Google Shape;221;p1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0572384" y="280085"/>
            <a:ext cx="1084840" cy="2896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Infograhic">
  <p:cSld name="Title and Infograhic"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p16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24" name="Google Shape;224;p16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225" name="Google Shape;225;p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219469" y="3421744"/>
            <a:ext cx="3384376" cy="1731305"/>
          </a:xfrm>
          <a:prstGeom prst="rect">
            <a:avLst/>
          </a:prstGeom>
          <a:noFill/>
          <a:ln>
            <a:noFill/>
          </a:ln>
        </p:spPr>
      </p:pic>
      <p:pic>
        <p:nvPicPr>
          <p:cNvPr id="226" name="Google Shape;226;p1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25014" y="2108675"/>
            <a:ext cx="9908207" cy="3998944"/>
          </a:xfrm>
          <a:prstGeom prst="rect">
            <a:avLst/>
          </a:prstGeom>
          <a:noFill/>
          <a:ln>
            <a:noFill/>
          </a:ln>
        </p:spPr>
      </p:pic>
      <p:sp>
        <p:nvSpPr>
          <p:cNvPr id="227" name="Google Shape;227;p16"/>
          <p:cNvSpPr txBox="1">
            <a:spLocks noGrp="1"/>
          </p:cNvSpPr>
          <p:nvPr>
            <p:ph type="body" idx="1"/>
          </p:nvPr>
        </p:nvSpPr>
        <p:spPr>
          <a:xfrm>
            <a:off x="1684055" y="2806133"/>
            <a:ext cx="1107200" cy="38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800"/>
              <a:buFont typeface="Arial"/>
              <a:buNone/>
              <a:defRPr sz="2400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28" name="Google Shape;228;p16"/>
          <p:cNvSpPr txBox="1">
            <a:spLocks noGrp="1"/>
          </p:cNvSpPr>
          <p:nvPr>
            <p:ph type="body" idx="2"/>
          </p:nvPr>
        </p:nvSpPr>
        <p:spPr>
          <a:xfrm>
            <a:off x="3293808" y="5038651"/>
            <a:ext cx="1045600" cy="4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29" name="Google Shape;229;p16"/>
          <p:cNvSpPr txBox="1">
            <a:spLocks noGrp="1"/>
          </p:cNvSpPr>
          <p:nvPr>
            <p:ph type="body" idx="3"/>
          </p:nvPr>
        </p:nvSpPr>
        <p:spPr>
          <a:xfrm>
            <a:off x="4707720" y="2811948"/>
            <a:ext cx="1099200" cy="38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6323E"/>
              </a:buClr>
              <a:buSzPts val="1800"/>
              <a:buFont typeface="Arial"/>
              <a:buNone/>
              <a:defRPr sz="2400" b="1" i="0" u="none" strike="noStrike" cap="none">
                <a:solidFill>
                  <a:srgbClr val="F6323E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0" name="Google Shape;230;p16"/>
          <p:cNvSpPr txBox="1">
            <a:spLocks noGrp="1"/>
          </p:cNvSpPr>
          <p:nvPr>
            <p:ph type="body" idx="4"/>
          </p:nvPr>
        </p:nvSpPr>
        <p:spPr>
          <a:xfrm>
            <a:off x="6306189" y="5028044"/>
            <a:ext cx="994000" cy="4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6323E"/>
              </a:buClr>
              <a:buSzPts val="1800"/>
              <a:buFont typeface="Arial"/>
              <a:buNone/>
              <a:defRPr sz="2400" b="1" i="0" u="none" strike="noStrike" cap="none">
                <a:solidFill>
                  <a:srgbClr val="F6323E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1" name="Google Shape;231;p16"/>
          <p:cNvSpPr txBox="1">
            <a:spLocks noGrp="1"/>
          </p:cNvSpPr>
          <p:nvPr>
            <p:ph type="body" idx="5"/>
          </p:nvPr>
        </p:nvSpPr>
        <p:spPr>
          <a:xfrm>
            <a:off x="7872132" y="2810243"/>
            <a:ext cx="1011600" cy="38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800"/>
              <a:buFont typeface="Arial"/>
              <a:buNone/>
              <a:defRPr sz="2400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2" name="Google Shape;232;p16"/>
          <p:cNvSpPr txBox="1">
            <a:spLocks noGrp="1"/>
          </p:cNvSpPr>
          <p:nvPr>
            <p:ph type="body" idx="6"/>
          </p:nvPr>
        </p:nvSpPr>
        <p:spPr>
          <a:xfrm>
            <a:off x="9365143" y="5017145"/>
            <a:ext cx="1045600" cy="4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6323E"/>
              </a:buClr>
              <a:buSzPts val="1800"/>
              <a:buFont typeface="Arial"/>
              <a:buNone/>
              <a:defRPr sz="2400" b="1" i="0" u="none" strike="noStrike" cap="none">
                <a:solidFill>
                  <a:srgbClr val="F6323E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3" name="Google Shape;233;p16"/>
          <p:cNvSpPr txBox="1">
            <a:spLocks noGrp="1"/>
          </p:cNvSpPr>
          <p:nvPr>
            <p:ph type="body" idx="7"/>
          </p:nvPr>
        </p:nvSpPr>
        <p:spPr>
          <a:xfrm>
            <a:off x="2874895" y="1677327"/>
            <a:ext cx="1775600" cy="2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4" name="Google Shape;234;p16"/>
          <p:cNvSpPr txBox="1">
            <a:spLocks noGrp="1"/>
          </p:cNvSpPr>
          <p:nvPr>
            <p:ph type="body" idx="8"/>
          </p:nvPr>
        </p:nvSpPr>
        <p:spPr>
          <a:xfrm>
            <a:off x="2874895" y="2031549"/>
            <a:ext cx="1775600" cy="2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5" name="Google Shape;235;p16"/>
          <p:cNvSpPr txBox="1">
            <a:spLocks noGrp="1"/>
          </p:cNvSpPr>
          <p:nvPr>
            <p:ph type="body" idx="9"/>
          </p:nvPr>
        </p:nvSpPr>
        <p:spPr>
          <a:xfrm>
            <a:off x="6018544" y="1677327"/>
            <a:ext cx="1775600" cy="2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1333F"/>
              </a:buClr>
              <a:buSzPts val="1200"/>
              <a:buFont typeface="Arial"/>
              <a:buNone/>
              <a:defRPr sz="1600" b="1" i="0" u="none" strike="noStrike" cap="none">
                <a:solidFill>
                  <a:srgbClr val="F1333F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6" name="Google Shape;236;p16"/>
          <p:cNvSpPr txBox="1">
            <a:spLocks noGrp="1"/>
          </p:cNvSpPr>
          <p:nvPr>
            <p:ph type="body" idx="13"/>
          </p:nvPr>
        </p:nvSpPr>
        <p:spPr>
          <a:xfrm>
            <a:off x="6018544" y="2031549"/>
            <a:ext cx="1775600" cy="2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7" name="Google Shape;237;p16"/>
          <p:cNvSpPr txBox="1">
            <a:spLocks noGrp="1"/>
          </p:cNvSpPr>
          <p:nvPr>
            <p:ph type="body" idx="14"/>
          </p:nvPr>
        </p:nvSpPr>
        <p:spPr>
          <a:xfrm>
            <a:off x="8961036" y="1677327"/>
            <a:ext cx="1775600" cy="2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1333F"/>
              </a:buClr>
              <a:buSzPts val="1200"/>
              <a:buFont typeface="Arial"/>
              <a:buNone/>
              <a:defRPr sz="1600" b="1" i="0" u="none" strike="noStrike" cap="none">
                <a:solidFill>
                  <a:srgbClr val="F1333F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8" name="Google Shape;238;p16"/>
          <p:cNvSpPr txBox="1">
            <a:spLocks noGrp="1"/>
          </p:cNvSpPr>
          <p:nvPr>
            <p:ph type="body" idx="15"/>
          </p:nvPr>
        </p:nvSpPr>
        <p:spPr>
          <a:xfrm>
            <a:off x="8961036" y="2031549"/>
            <a:ext cx="1775600" cy="2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9" name="Google Shape;239;p16"/>
          <p:cNvSpPr txBox="1">
            <a:spLocks noGrp="1"/>
          </p:cNvSpPr>
          <p:nvPr>
            <p:ph type="body" idx="16"/>
          </p:nvPr>
        </p:nvSpPr>
        <p:spPr>
          <a:xfrm>
            <a:off x="1327020" y="5055835"/>
            <a:ext cx="1775600" cy="2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200"/>
              <a:buFont typeface="Arial"/>
              <a:buNone/>
              <a:defRPr sz="1600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0" name="Google Shape;240;p16"/>
          <p:cNvSpPr txBox="1">
            <a:spLocks noGrp="1"/>
          </p:cNvSpPr>
          <p:nvPr>
            <p:ph type="body" idx="17"/>
          </p:nvPr>
        </p:nvSpPr>
        <p:spPr>
          <a:xfrm>
            <a:off x="1327020" y="5410057"/>
            <a:ext cx="1775600" cy="2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1" name="Google Shape;241;p16"/>
          <p:cNvSpPr txBox="1">
            <a:spLocks noGrp="1"/>
          </p:cNvSpPr>
          <p:nvPr>
            <p:ph type="body" idx="18"/>
          </p:nvPr>
        </p:nvSpPr>
        <p:spPr>
          <a:xfrm>
            <a:off x="4435047" y="5039588"/>
            <a:ext cx="1775600" cy="2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1333F"/>
              </a:buClr>
              <a:buSzPts val="1200"/>
              <a:buFont typeface="Arial"/>
              <a:buNone/>
              <a:defRPr sz="1600" b="1" i="0" u="none" strike="noStrike" cap="none">
                <a:solidFill>
                  <a:srgbClr val="F1333F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2" name="Google Shape;242;p16"/>
          <p:cNvSpPr txBox="1">
            <a:spLocks noGrp="1"/>
          </p:cNvSpPr>
          <p:nvPr>
            <p:ph type="body" idx="19"/>
          </p:nvPr>
        </p:nvSpPr>
        <p:spPr>
          <a:xfrm>
            <a:off x="4435047" y="5393811"/>
            <a:ext cx="1775600" cy="2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3" name="Google Shape;243;p16"/>
          <p:cNvSpPr txBox="1">
            <a:spLocks noGrp="1"/>
          </p:cNvSpPr>
          <p:nvPr>
            <p:ph type="body" idx="20"/>
          </p:nvPr>
        </p:nvSpPr>
        <p:spPr>
          <a:xfrm>
            <a:off x="7466661" y="5011963"/>
            <a:ext cx="1775600" cy="2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200"/>
              <a:buFont typeface="Arial"/>
              <a:buNone/>
              <a:defRPr sz="1600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4" name="Google Shape;244;p16"/>
          <p:cNvSpPr txBox="1">
            <a:spLocks noGrp="1"/>
          </p:cNvSpPr>
          <p:nvPr>
            <p:ph type="body" idx="21"/>
          </p:nvPr>
        </p:nvSpPr>
        <p:spPr>
          <a:xfrm>
            <a:off x="7466661" y="5366185"/>
            <a:ext cx="1775600" cy="2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245" name="Google Shape;245;p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219469" y="3421744"/>
            <a:ext cx="3384376" cy="1731305"/>
          </a:xfrm>
          <a:prstGeom prst="rect">
            <a:avLst/>
          </a:prstGeom>
          <a:noFill/>
          <a:ln>
            <a:noFill/>
          </a:ln>
        </p:spPr>
      </p:pic>
      <p:pic>
        <p:nvPicPr>
          <p:cNvPr id="246" name="Google Shape;246;p1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25014" y="2108675"/>
            <a:ext cx="9908207" cy="3998944"/>
          </a:xfrm>
          <a:prstGeom prst="rect">
            <a:avLst/>
          </a:prstGeom>
          <a:noFill/>
          <a:ln>
            <a:noFill/>
          </a:ln>
        </p:spPr>
      </p:pic>
      <p:sp>
        <p:nvSpPr>
          <p:cNvPr id="247" name="Google Shape;247;p16"/>
          <p:cNvSpPr/>
          <p:nvPr/>
        </p:nvSpPr>
        <p:spPr>
          <a:xfrm>
            <a:off x="0" y="0"/>
            <a:ext cx="12192000" cy="849200"/>
          </a:xfrm>
          <a:prstGeom prst="rect">
            <a:avLst/>
          </a:prstGeom>
          <a:solidFill>
            <a:srgbClr val="F5333F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13"/>
              <a:buFont typeface="Arial"/>
              <a:buNone/>
            </a:pPr>
            <a:endParaRPr sz="1351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8" name="Google Shape;248;p16"/>
          <p:cNvSpPr txBox="1">
            <a:spLocks noGrp="1"/>
          </p:cNvSpPr>
          <p:nvPr>
            <p:ph type="title"/>
          </p:nvPr>
        </p:nvSpPr>
        <p:spPr>
          <a:xfrm>
            <a:off x="422239" y="162621"/>
            <a:ext cx="4981200" cy="5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49" name="Google Shape;249;p1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572384" y="280085"/>
            <a:ext cx="1084840" cy="2896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Infographic 2">
  <p:cSld name="Title and Infographic 2"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17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52" name="Google Shape;252;p17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253" name="Google Shape;253;p17" descr="C:\Users\diyajoseph\Desktop\New folder (3)\Infographics-01-01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798912" y="1775501"/>
            <a:ext cx="4859808" cy="4859812"/>
          </a:xfrm>
          <a:prstGeom prst="rect">
            <a:avLst/>
          </a:prstGeom>
          <a:noFill/>
          <a:ln>
            <a:noFill/>
          </a:ln>
        </p:spPr>
      </p:pic>
      <p:sp>
        <p:nvSpPr>
          <p:cNvPr id="254" name="Google Shape;254;p17"/>
          <p:cNvSpPr txBox="1">
            <a:spLocks noGrp="1"/>
          </p:cNvSpPr>
          <p:nvPr>
            <p:ph type="body" idx="1"/>
          </p:nvPr>
        </p:nvSpPr>
        <p:spPr>
          <a:xfrm>
            <a:off x="840317" y="1797051"/>
            <a:ext cx="4242800" cy="36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20"/>
              <a:buFont typeface="Arial"/>
              <a:buNone/>
              <a:defRPr sz="2427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5" name="Google Shape;255;p17"/>
          <p:cNvSpPr txBox="1">
            <a:spLocks noGrp="1"/>
          </p:cNvSpPr>
          <p:nvPr>
            <p:ph type="body" idx="2"/>
          </p:nvPr>
        </p:nvSpPr>
        <p:spPr>
          <a:xfrm>
            <a:off x="8578604" y="2296139"/>
            <a:ext cx="1775600" cy="2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200"/>
              <a:buFont typeface="Arial"/>
              <a:buNone/>
              <a:defRPr sz="1600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6" name="Google Shape;256;p17"/>
          <p:cNvSpPr txBox="1">
            <a:spLocks noGrp="1"/>
          </p:cNvSpPr>
          <p:nvPr>
            <p:ph type="body" idx="3"/>
          </p:nvPr>
        </p:nvSpPr>
        <p:spPr>
          <a:xfrm>
            <a:off x="8578604" y="2650361"/>
            <a:ext cx="1775600" cy="2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7" name="Google Shape;257;p17"/>
          <p:cNvSpPr txBox="1">
            <a:spLocks noGrp="1"/>
          </p:cNvSpPr>
          <p:nvPr>
            <p:ph type="body" idx="4"/>
          </p:nvPr>
        </p:nvSpPr>
        <p:spPr>
          <a:xfrm>
            <a:off x="6171416" y="4034877"/>
            <a:ext cx="1577200" cy="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100"/>
              <a:buFont typeface="Arial"/>
              <a:buNone/>
              <a:defRPr sz="1467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8" name="Google Shape;258;p17"/>
          <p:cNvSpPr txBox="1">
            <a:spLocks noGrp="1"/>
          </p:cNvSpPr>
          <p:nvPr>
            <p:ph type="body" idx="5"/>
          </p:nvPr>
        </p:nvSpPr>
        <p:spPr>
          <a:xfrm>
            <a:off x="9337929" y="3711647"/>
            <a:ext cx="1775600" cy="2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9" name="Google Shape;259;p17"/>
          <p:cNvSpPr txBox="1">
            <a:spLocks noGrp="1"/>
          </p:cNvSpPr>
          <p:nvPr>
            <p:ph type="body" idx="6"/>
          </p:nvPr>
        </p:nvSpPr>
        <p:spPr>
          <a:xfrm>
            <a:off x="9346124" y="4405023"/>
            <a:ext cx="1775600" cy="2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200"/>
              <a:buFont typeface="Arial"/>
              <a:buNone/>
              <a:defRPr sz="1600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0" name="Google Shape;260;p17"/>
          <p:cNvSpPr txBox="1">
            <a:spLocks noGrp="1"/>
          </p:cNvSpPr>
          <p:nvPr>
            <p:ph type="body" idx="7"/>
          </p:nvPr>
        </p:nvSpPr>
        <p:spPr>
          <a:xfrm>
            <a:off x="9346124" y="4759245"/>
            <a:ext cx="1775600" cy="2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1" name="Google Shape;261;p17"/>
          <p:cNvSpPr txBox="1">
            <a:spLocks noGrp="1"/>
          </p:cNvSpPr>
          <p:nvPr>
            <p:ph type="body" idx="8"/>
          </p:nvPr>
        </p:nvSpPr>
        <p:spPr>
          <a:xfrm>
            <a:off x="8578604" y="5379081"/>
            <a:ext cx="1775600" cy="2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200"/>
              <a:buFont typeface="Arial"/>
              <a:buNone/>
              <a:defRPr sz="1600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2" name="Google Shape;262;p17"/>
          <p:cNvSpPr txBox="1">
            <a:spLocks noGrp="1"/>
          </p:cNvSpPr>
          <p:nvPr>
            <p:ph type="body" idx="9"/>
          </p:nvPr>
        </p:nvSpPr>
        <p:spPr>
          <a:xfrm>
            <a:off x="8578604" y="5733304"/>
            <a:ext cx="1775600" cy="2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3" name="Google Shape;263;p17"/>
          <p:cNvSpPr txBox="1">
            <a:spLocks noGrp="1"/>
          </p:cNvSpPr>
          <p:nvPr>
            <p:ph type="body" idx="13"/>
          </p:nvPr>
        </p:nvSpPr>
        <p:spPr>
          <a:xfrm>
            <a:off x="9334843" y="3366604"/>
            <a:ext cx="1775600" cy="2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200"/>
              <a:buFont typeface="Arial"/>
              <a:buNone/>
              <a:defRPr sz="1600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4" name="Google Shape;264;p17"/>
          <p:cNvSpPr/>
          <p:nvPr/>
        </p:nvSpPr>
        <p:spPr>
          <a:xfrm>
            <a:off x="0" y="0"/>
            <a:ext cx="12192000" cy="849200"/>
          </a:xfrm>
          <a:prstGeom prst="rect">
            <a:avLst/>
          </a:prstGeom>
          <a:solidFill>
            <a:srgbClr val="F5333F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13"/>
              <a:buFont typeface="Arial"/>
              <a:buNone/>
            </a:pPr>
            <a:endParaRPr sz="1351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65" name="Google Shape;265;p1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72384" y="280085"/>
            <a:ext cx="1084840" cy="2896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  <p15:guide id="2" orient="horz" pos="1132" userDrawn="1">
          <p15:clr>
            <a:srgbClr val="FBAE40"/>
          </p15:clr>
        </p15:guide>
        <p15:guide id="3" orient="horz" pos="3551" userDrawn="1">
          <p15:clr>
            <a:srgbClr val="FBAE40"/>
          </p15:clr>
        </p15:guide>
        <p15:guide id="4" pos="33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Infographic 3">
  <p:cSld name="Title and Infographic 3"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Google Shape;267;p18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68" name="Google Shape;268;p18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269" name="Google Shape;269;p18"/>
          <p:cNvSpPr txBox="1">
            <a:spLocks noGrp="1"/>
          </p:cNvSpPr>
          <p:nvPr>
            <p:ph type="body" idx="1"/>
          </p:nvPr>
        </p:nvSpPr>
        <p:spPr>
          <a:xfrm>
            <a:off x="2913044" y="1755835"/>
            <a:ext cx="1775600" cy="1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000"/>
              <a:buFont typeface="Arial"/>
              <a:buNone/>
              <a:defRPr sz="1333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0" name="Google Shape;270;p18"/>
          <p:cNvSpPr txBox="1">
            <a:spLocks noGrp="1"/>
          </p:cNvSpPr>
          <p:nvPr>
            <p:ph type="body" idx="2"/>
          </p:nvPr>
        </p:nvSpPr>
        <p:spPr>
          <a:xfrm>
            <a:off x="2913044" y="1995340"/>
            <a:ext cx="1775600" cy="23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1" name="Google Shape;271;p18"/>
          <p:cNvSpPr txBox="1">
            <a:spLocks noGrp="1"/>
          </p:cNvSpPr>
          <p:nvPr>
            <p:ph type="body" idx="3"/>
          </p:nvPr>
        </p:nvSpPr>
        <p:spPr>
          <a:xfrm>
            <a:off x="2913044" y="2278059"/>
            <a:ext cx="1775600" cy="2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600"/>
              <a:buFont typeface="Arial"/>
              <a:buNone/>
              <a:defRPr sz="2133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2" name="Google Shape;272;p18"/>
          <p:cNvSpPr txBox="1">
            <a:spLocks noGrp="1"/>
          </p:cNvSpPr>
          <p:nvPr>
            <p:ph type="body" idx="4"/>
          </p:nvPr>
        </p:nvSpPr>
        <p:spPr>
          <a:xfrm>
            <a:off x="2197751" y="2880712"/>
            <a:ext cx="1775600" cy="1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3" name="Google Shape;273;p18"/>
          <p:cNvSpPr txBox="1">
            <a:spLocks noGrp="1"/>
          </p:cNvSpPr>
          <p:nvPr>
            <p:ph type="body" idx="5"/>
          </p:nvPr>
        </p:nvSpPr>
        <p:spPr>
          <a:xfrm>
            <a:off x="2197751" y="3120217"/>
            <a:ext cx="1775600" cy="23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4" name="Google Shape;274;p18"/>
          <p:cNvSpPr txBox="1">
            <a:spLocks noGrp="1"/>
          </p:cNvSpPr>
          <p:nvPr>
            <p:ph type="body" idx="6"/>
          </p:nvPr>
        </p:nvSpPr>
        <p:spPr>
          <a:xfrm>
            <a:off x="2197751" y="3402936"/>
            <a:ext cx="1775600" cy="2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600"/>
              <a:buFont typeface="Arial"/>
              <a:buNone/>
              <a:defRPr sz="2133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5" name="Google Shape;275;p18"/>
          <p:cNvSpPr txBox="1">
            <a:spLocks noGrp="1"/>
          </p:cNvSpPr>
          <p:nvPr>
            <p:ph type="body" idx="7"/>
          </p:nvPr>
        </p:nvSpPr>
        <p:spPr>
          <a:xfrm>
            <a:off x="2227593" y="4151988"/>
            <a:ext cx="1775600" cy="1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000"/>
              <a:buFont typeface="Arial"/>
              <a:buNone/>
              <a:defRPr sz="1333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6" name="Google Shape;276;p18"/>
          <p:cNvSpPr txBox="1">
            <a:spLocks noGrp="1"/>
          </p:cNvSpPr>
          <p:nvPr>
            <p:ph type="body" idx="8"/>
          </p:nvPr>
        </p:nvSpPr>
        <p:spPr>
          <a:xfrm>
            <a:off x="2227593" y="4391493"/>
            <a:ext cx="1775600" cy="23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7" name="Google Shape;277;p18"/>
          <p:cNvSpPr txBox="1">
            <a:spLocks noGrp="1"/>
          </p:cNvSpPr>
          <p:nvPr>
            <p:ph type="body" idx="9"/>
          </p:nvPr>
        </p:nvSpPr>
        <p:spPr>
          <a:xfrm>
            <a:off x="2227593" y="4674212"/>
            <a:ext cx="1775600" cy="2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600"/>
              <a:buFont typeface="Arial"/>
              <a:buNone/>
              <a:defRPr sz="2133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8" name="Google Shape;278;p18"/>
          <p:cNvSpPr txBox="1">
            <a:spLocks noGrp="1"/>
          </p:cNvSpPr>
          <p:nvPr>
            <p:ph type="body" idx="13"/>
          </p:nvPr>
        </p:nvSpPr>
        <p:spPr>
          <a:xfrm>
            <a:off x="2872335" y="5110889"/>
            <a:ext cx="1775600" cy="1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1333F"/>
              </a:buClr>
              <a:buSzPts val="1000"/>
              <a:buFont typeface="Arial"/>
              <a:buNone/>
              <a:defRPr sz="1333" b="1" i="0" u="none" strike="noStrike" cap="none">
                <a:solidFill>
                  <a:srgbClr val="F1333F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9" name="Google Shape;279;p18"/>
          <p:cNvSpPr txBox="1">
            <a:spLocks noGrp="1"/>
          </p:cNvSpPr>
          <p:nvPr>
            <p:ph type="body" idx="14"/>
          </p:nvPr>
        </p:nvSpPr>
        <p:spPr>
          <a:xfrm>
            <a:off x="2872335" y="5350395"/>
            <a:ext cx="1775600" cy="23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0" name="Google Shape;280;p18"/>
          <p:cNvSpPr txBox="1">
            <a:spLocks noGrp="1"/>
          </p:cNvSpPr>
          <p:nvPr>
            <p:ph type="body" idx="15"/>
          </p:nvPr>
        </p:nvSpPr>
        <p:spPr>
          <a:xfrm>
            <a:off x="2872335" y="5633113"/>
            <a:ext cx="1775600" cy="2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600"/>
              <a:buFont typeface="Arial"/>
              <a:buNone/>
              <a:defRPr sz="2133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1" name="Google Shape;281;p18"/>
          <p:cNvSpPr txBox="1">
            <a:spLocks noGrp="1"/>
          </p:cNvSpPr>
          <p:nvPr>
            <p:ph type="body" idx="16"/>
          </p:nvPr>
        </p:nvSpPr>
        <p:spPr>
          <a:xfrm>
            <a:off x="7615792" y="1699579"/>
            <a:ext cx="1775600" cy="1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1333F"/>
              </a:buClr>
              <a:buSzPts val="1000"/>
              <a:buFont typeface="Arial"/>
              <a:buNone/>
              <a:defRPr sz="1333" b="1" i="0" u="none" strike="noStrike" cap="none">
                <a:solidFill>
                  <a:srgbClr val="F1333F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2" name="Google Shape;282;p18"/>
          <p:cNvSpPr txBox="1">
            <a:spLocks noGrp="1"/>
          </p:cNvSpPr>
          <p:nvPr>
            <p:ph type="body" idx="17"/>
          </p:nvPr>
        </p:nvSpPr>
        <p:spPr>
          <a:xfrm>
            <a:off x="7615792" y="1939084"/>
            <a:ext cx="1775600" cy="23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3" name="Google Shape;283;p18"/>
          <p:cNvSpPr txBox="1">
            <a:spLocks noGrp="1"/>
          </p:cNvSpPr>
          <p:nvPr>
            <p:ph type="body" idx="18"/>
          </p:nvPr>
        </p:nvSpPr>
        <p:spPr>
          <a:xfrm>
            <a:off x="7615792" y="2221803"/>
            <a:ext cx="1775600" cy="2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600"/>
              <a:buFont typeface="Arial"/>
              <a:buNone/>
              <a:defRPr sz="2133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4" name="Google Shape;284;p18"/>
          <p:cNvSpPr txBox="1">
            <a:spLocks noGrp="1"/>
          </p:cNvSpPr>
          <p:nvPr>
            <p:ph type="body" idx="19"/>
          </p:nvPr>
        </p:nvSpPr>
        <p:spPr>
          <a:xfrm>
            <a:off x="8330120" y="2775617"/>
            <a:ext cx="1775600" cy="1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000"/>
              <a:buFont typeface="Arial"/>
              <a:buNone/>
              <a:defRPr sz="1333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5" name="Google Shape;285;p18"/>
          <p:cNvSpPr txBox="1">
            <a:spLocks noGrp="1"/>
          </p:cNvSpPr>
          <p:nvPr>
            <p:ph type="body" idx="20"/>
          </p:nvPr>
        </p:nvSpPr>
        <p:spPr>
          <a:xfrm>
            <a:off x="8330120" y="3015123"/>
            <a:ext cx="1775600" cy="23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6" name="Google Shape;286;p18"/>
          <p:cNvSpPr txBox="1">
            <a:spLocks noGrp="1"/>
          </p:cNvSpPr>
          <p:nvPr>
            <p:ph type="body" idx="21"/>
          </p:nvPr>
        </p:nvSpPr>
        <p:spPr>
          <a:xfrm>
            <a:off x="8330120" y="3297841"/>
            <a:ext cx="1775600" cy="2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600"/>
              <a:buFont typeface="Arial"/>
              <a:buNone/>
              <a:defRPr sz="2133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7" name="Google Shape;287;p18"/>
          <p:cNvSpPr txBox="1">
            <a:spLocks noGrp="1"/>
          </p:cNvSpPr>
          <p:nvPr>
            <p:ph type="body" idx="22"/>
          </p:nvPr>
        </p:nvSpPr>
        <p:spPr>
          <a:xfrm>
            <a:off x="8330120" y="4012892"/>
            <a:ext cx="1775600" cy="1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1333F"/>
              </a:buClr>
              <a:buSzPts val="1000"/>
              <a:buFont typeface="Arial"/>
              <a:buNone/>
              <a:defRPr sz="1333" b="1" i="0" u="none" strike="noStrike" cap="none">
                <a:solidFill>
                  <a:srgbClr val="F1333F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8" name="Google Shape;288;p18"/>
          <p:cNvSpPr txBox="1">
            <a:spLocks noGrp="1"/>
          </p:cNvSpPr>
          <p:nvPr>
            <p:ph type="body" idx="23"/>
          </p:nvPr>
        </p:nvSpPr>
        <p:spPr>
          <a:xfrm>
            <a:off x="8330120" y="4252397"/>
            <a:ext cx="1775600" cy="23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9" name="Google Shape;289;p18"/>
          <p:cNvSpPr txBox="1">
            <a:spLocks noGrp="1"/>
          </p:cNvSpPr>
          <p:nvPr>
            <p:ph type="body" idx="24"/>
          </p:nvPr>
        </p:nvSpPr>
        <p:spPr>
          <a:xfrm>
            <a:off x="8330120" y="4535116"/>
            <a:ext cx="1775600" cy="2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600"/>
              <a:buFont typeface="Arial"/>
              <a:buNone/>
              <a:defRPr sz="2133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0" name="Google Shape;290;p18"/>
          <p:cNvSpPr txBox="1">
            <a:spLocks noGrp="1"/>
          </p:cNvSpPr>
          <p:nvPr>
            <p:ph type="body" idx="25"/>
          </p:nvPr>
        </p:nvSpPr>
        <p:spPr>
          <a:xfrm>
            <a:off x="7881377" y="5103624"/>
            <a:ext cx="1775600" cy="1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000"/>
              <a:buFont typeface="Arial"/>
              <a:buNone/>
              <a:defRPr sz="1333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1" name="Google Shape;291;p18"/>
          <p:cNvSpPr txBox="1">
            <a:spLocks noGrp="1"/>
          </p:cNvSpPr>
          <p:nvPr>
            <p:ph type="body" idx="26"/>
          </p:nvPr>
        </p:nvSpPr>
        <p:spPr>
          <a:xfrm>
            <a:off x="7881377" y="5343129"/>
            <a:ext cx="1775600" cy="23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2" name="Google Shape;292;p18"/>
          <p:cNvSpPr txBox="1">
            <a:spLocks noGrp="1"/>
          </p:cNvSpPr>
          <p:nvPr>
            <p:ph type="body" idx="27"/>
          </p:nvPr>
        </p:nvSpPr>
        <p:spPr>
          <a:xfrm>
            <a:off x="7881377" y="5625848"/>
            <a:ext cx="1775600" cy="2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600"/>
              <a:buFont typeface="Arial"/>
              <a:buNone/>
              <a:defRPr sz="2133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grpSp>
        <p:nvGrpSpPr>
          <p:cNvPr id="293" name="Google Shape;293;p18"/>
          <p:cNvGrpSpPr/>
          <p:nvPr/>
        </p:nvGrpSpPr>
        <p:grpSpPr>
          <a:xfrm>
            <a:off x="4085375" y="1763319"/>
            <a:ext cx="4173525" cy="4173525"/>
            <a:chOff x="1725851" y="197234"/>
            <a:chExt cx="4799362" cy="4799363"/>
          </a:xfrm>
        </p:grpSpPr>
        <p:sp>
          <p:nvSpPr>
            <p:cNvPr id="294" name="Google Shape;294;p18"/>
            <p:cNvSpPr/>
            <p:nvPr/>
          </p:nvSpPr>
          <p:spPr>
            <a:xfrm>
              <a:off x="2160294" y="631678"/>
              <a:ext cx="3930600" cy="3930600"/>
            </a:xfrm>
            <a:prstGeom prst="blockArc">
              <a:avLst>
                <a:gd name="adj1" fmla="val 13500000"/>
                <a:gd name="adj2" fmla="val 16200000"/>
                <a:gd name="adj3" fmla="val 3430"/>
              </a:avLst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5" name="Google Shape;295;p18"/>
            <p:cNvSpPr/>
            <p:nvPr/>
          </p:nvSpPr>
          <p:spPr>
            <a:xfrm>
              <a:off x="2160294" y="631678"/>
              <a:ext cx="3930600" cy="3930600"/>
            </a:xfrm>
            <a:prstGeom prst="blockArc">
              <a:avLst>
                <a:gd name="adj1" fmla="val 10800000"/>
                <a:gd name="adj2" fmla="val 13500000"/>
                <a:gd name="adj3" fmla="val 3430"/>
              </a:avLst>
            </a:prstGeom>
            <a:solidFill>
              <a:srgbClr val="9D9D9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6" name="Google Shape;296;p18"/>
            <p:cNvSpPr/>
            <p:nvPr/>
          </p:nvSpPr>
          <p:spPr>
            <a:xfrm>
              <a:off x="2160294" y="631678"/>
              <a:ext cx="3930600" cy="3930600"/>
            </a:xfrm>
            <a:prstGeom prst="blockArc">
              <a:avLst>
                <a:gd name="adj1" fmla="val 8100000"/>
                <a:gd name="adj2" fmla="val 10800000"/>
                <a:gd name="adj3" fmla="val 3430"/>
              </a:avLst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7" name="Google Shape;297;p18"/>
            <p:cNvSpPr/>
            <p:nvPr/>
          </p:nvSpPr>
          <p:spPr>
            <a:xfrm>
              <a:off x="2160294" y="631678"/>
              <a:ext cx="3930600" cy="3930600"/>
            </a:xfrm>
            <a:prstGeom prst="blockArc">
              <a:avLst>
                <a:gd name="adj1" fmla="val 5400000"/>
                <a:gd name="adj2" fmla="val 8100000"/>
                <a:gd name="adj3" fmla="val 3430"/>
              </a:avLst>
            </a:prstGeom>
            <a:solidFill>
              <a:srgbClr val="B4B4B4"/>
            </a:solidFill>
            <a:ln w="9525" cap="flat" cmpd="sng">
              <a:solidFill>
                <a:srgbClr val="A8A8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24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8" name="Google Shape;298;p18"/>
            <p:cNvSpPr/>
            <p:nvPr/>
          </p:nvSpPr>
          <p:spPr>
            <a:xfrm>
              <a:off x="2160294" y="631678"/>
              <a:ext cx="3930600" cy="3930600"/>
            </a:xfrm>
            <a:prstGeom prst="blockArc">
              <a:avLst>
                <a:gd name="adj1" fmla="val 2700000"/>
                <a:gd name="adj2" fmla="val 5400000"/>
                <a:gd name="adj3" fmla="val 3430"/>
              </a:avLst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9" name="Google Shape;299;p18"/>
            <p:cNvSpPr/>
            <p:nvPr/>
          </p:nvSpPr>
          <p:spPr>
            <a:xfrm>
              <a:off x="2160294" y="631678"/>
              <a:ext cx="3930600" cy="3930600"/>
            </a:xfrm>
            <a:prstGeom prst="blockArc">
              <a:avLst>
                <a:gd name="adj1" fmla="val 0"/>
                <a:gd name="adj2" fmla="val 2700000"/>
                <a:gd name="adj3" fmla="val 3430"/>
              </a:avLst>
            </a:prstGeom>
            <a:solidFill>
              <a:srgbClr val="F6323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0" name="Google Shape;300;p18"/>
            <p:cNvSpPr/>
            <p:nvPr/>
          </p:nvSpPr>
          <p:spPr>
            <a:xfrm>
              <a:off x="2160294" y="631678"/>
              <a:ext cx="3930600" cy="3930600"/>
            </a:xfrm>
            <a:prstGeom prst="blockArc">
              <a:avLst>
                <a:gd name="adj1" fmla="val 18900000"/>
                <a:gd name="adj2" fmla="val 0"/>
                <a:gd name="adj3" fmla="val 3430"/>
              </a:avLst>
            </a:prstGeom>
            <a:solidFill>
              <a:srgbClr val="CCCC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1" name="Google Shape;301;p18"/>
            <p:cNvSpPr/>
            <p:nvPr/>
          </p:nvSpPr>
          <p:spPr>
            <a:xfrm>
              <a:off x="2160294" y="631678"/>
              <a:ext cx="3930600" cy="3930600"/>
            </a:xfrm>
            <a:prstGeom prst="blockArc">
              <a:avLst>
                <a:gd name="adj1" fmla="val 16200000"/>
                <a:gd name="adj2" fmla="val 18900000"/>
                <a:gd name="adj3" fmla="val 3430"/>
              </a:avLst>
            </a:prstGeom>
            <a:solidFill>
              <a:srgbClr val="F6323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2" name="Google Shape;302;p18"/>
            <p:cNvSpPr/>
            <p:nvPr/>
          </p:nvSpPr>
          <p:spPr>
            <a:xfrm>
              <a:off x="3128723" y="1600108"/>
              <a:ext cx="1993614" cy="1993614"/>
            </a:xfrm>
            <a:custGeom>
              <a:avLst/>
              <a:gdLst/>
              <a:ahLst/>
              <a:cxnLst/>
              <a:rect l="l" t="t" r="r" b="b"/>
              <a:pathLst>
                <a:path w="1993614" h="1993614" extrusionOk="0">
                  <a:moveTo>
                    <a:pt x="0" y="996807"/>
                  </a:moveTo>
                  <a:cubicBezTo>
                    <a:pt x="0" y="446286"/>
                    <a:pt x="446286" y="0"/>
                    <a:pt x="996807" y="0"/>
                  </a:cubicBezTo>
                  <a:cubicBezTo>
                    <a:pt x="1547328" y="0"/>
                    <a:pt x="1993614" y="446286"/>
                    <a:pt x="1993614" y="996807"/>
                  </a:cubicBezTo>
                  <a:cubicBezTo>
                    <a:pt x="1993614" y="1547328"/>
                    <a:pt x="1547328" y="1993614"/>
                    <a:pt x="996807" y="1993614"/>
                  </a:cubicBezTo>
                  <a:cubicBezTo>
                    <a:pt x="446286" y="1993614"/>
                    <a:pt x="0" y="1547328"/>
                    <a:pt x="0" y="996807"/>
                  </a:cubicBezTo>
                  <a:close/>
                </a:path>
              </a:pathLst>
            </a:custGeom>
            <a:noFill/>
            <a:ln w="50800" cap="flat" cmpd="sng">
              <a:solidFill>
                <a:srgbClr val="4C4C4C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810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307175" tIns="307175" rIns="307175" bIns="30717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endParaRPr sz="1600" b="0" i="0" u="none" strike="noStrike" cap="none" dirty="0">
                <a:solidFill>
                  <a:srgbClr val="4C4C4C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303" name="Google Shape;303;p18"/>
            <p:cNvSpPr/>
            <p:nvPr/>
          </p:nvSpPr>
          <p:spPr>
            <a:xfrm>
              <a:off x="3657379" y="197234"/>
              <a:ext cx="936302" cy="936302"/>
            </a:xfrm>
            <a:custGeom>
              <a:avLst/>
              <a:gdLst/>
              <a:ahLst/>
              <a:cxnLst/>
              <a:rect l="l" t="t" r="r" b="b"/>
              <a:pathLst>
                <a:path w="936302" h="936302" extrusionOk="0">
                  <a:moveTo>
                    <a:pt x="0" y="468151"/>
                  </a:moveTo>
                  <a:cubicBezTo>
                    <a:pt x="0" y="209598"/>
                    <a:pt x="209598" y="0"/>
                    <a:pt x="468151" y="0"/>
                  </a:cubicBezTo>
                  <a:cubicBezTo>
                    <a:pt x="726704" y="0"/>
                    <a:pt x="936302" y="209598"/>
                    <a:pt x="936302" y="468151"/>
                  </a:cubicBezTo>
                  <a:cubicBezTo>
                    <a:pt x="936302" y="726704"/>
                    <a:pt x="726704" y="936302"/>
                    <a:pt x="468151" y="936302"/>
                  </a:cubicBezTo>
                  <a:cubicBezTo>
                    <a:pt x="209598" y="936302"/>
                    <a:pt x="0" y="726704"/>
                    <a:pt x="0" y="468151"/>
                  </a:cubicBezTo>
                  <a:close/>
                </a:path>
              </a:pathLst>
            </a:custGeom>
            <a:solidFill>
              <a:srgbClr val="F7F7F7"/>
            </a:solidFill>
            <a:ln w="57150" cap="flat" cmpd="sng">
              <a:solidFill>
                <a:srgbClr val="F6323E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63775" tIns="163775" rIns="163775" bIns="16377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100"/>
                <a:buFont typeface="Arial"/>
                <a:buNone/>
              </a:pPr>
              <a:endParaRPr sz="2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" name="Google Shape;304;p18"/>
            <p:cNvSpPr/>
            <p:nvPr/>
          </p:nvSpPr>
          <p:spPr>
            <a:xfrm>
              <a:off x="5023178" y="762966"/>
              <a:ext cx="936302" cy="936302"/>
            </a:xfrm>
            <a:custGeom>
              <a:avLst/>
              <a:gdLst/>
              <a:ahLst/>
              <a:cxnLst/>
              <a:rect l="l" t="t" r="r" b="b"/>
              <a:pathLst>
                <a:path w="936302" h="936302" extrusionOk="0">
                  <a:moveTo>
                    <a:pt x="0" y="468151"/>
                  </a:moveTo>
                  <a:cubicBezTo>
                    <a:pt x="0" y="209598"/>
                    <a:pt x="209598" y="0"/>
                    <a:pt x="468151" y="0"/>
                  </a:cubicBezTo>
                  <a:cubicBezTo>
                    <a:pt x="726704" y="0"/>
                    <a:pt x="936302" y="209598"/>
                    <a:pt x="936302" y="468151"/>
                  </a:cubicBezTo>
                  <a:cubicBezTo>
                    <a:pt x="936302" y="726704"/>
                    <a:pt x="726704" y="936302"/>
                    <a:pt x="468151" y="936302"/>
                  </a:cubicBezTo>
                  <a:cubicBezTo>
                    <a:pt x="209598" y="936302"/>
                    <a:pt x="0" y="726704"/>
                    <a:pt x="0" y="468151"/>
                  </a:cubicBezTo>
                  <a:close/>
                </a:path>
              </a:pathLst>
            </a:custGeom>
            <a:solidFill>
              <a:srgbClr val="F7F7F7"/>
            </a:solidFill>
            <a:ln w="57150" cap="flat" cmpd="sng">
              <a:solidFill>
                <a:srgbClr val="CCCCCC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63775" tIns="163775" rIns="163775" bIns="16377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100"/>
                <a:buFont typeface="Arial"/>
                <a:buNone/>
              </a:pPr>
              <a:endParaRPr sz="2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Google Shape;305;p18"/>
            <p:cNvSpPr/>
            <p:nvPr/>
          </p:nvSpPr>
          <p:spPr>
            <a:xfrm>
              <a:off x="5588911" y="2128764"/>
              <a:ext cx="936302" cy="936302"/>
            </a:xfrm>
            <a:custGeom>
              <a:avLst/>
              <a:gdLst/>
              <a:ahLst/>
              <a:cxnLst/>
              <a:rect l="l" t="t" r="r" b="b"/>
              <a:pathLst>
                <a:path w="936302" h="936302" extrusionOk="0">
                  <a:moveTo>
                    <a:pt x="0" y="468151"/>
                  </a:moveTo>
                  <a:cubicBezTo>
                    <a:pt x="0" y="209598"/>
                    <a:pt x="209598" y="0"/>
                    <a:pt x="468151" y="0"/>
                  </a:cubicBezTo>
                  <a:cubicBezTo>
                    <a:pt x="726704" y="0"/>
                    <a:pt x="936302" y="209598"/>
                    <a:pt x="936302" y="468151"/>
                  </a:cubicBezTo>
                  <a:cubicBezTo>
                    <a:pt x="936302" y="726704"/>
                    <a:pt x="726704" y="936302"/>
                    <a:pt x="468151" y="936302"/>
                  </a:cubicBezTo>
                  <a:cubicBezTo>
                    <a:pt x="209598" y="936302"/>
                    <a:pt x="0" y="726704"/>
                    <a:pt x="0" y="468151"/>
                  </a:cubicBezTo>
                  <a:close/>
                </a:path>
              </a:pathLst>
            </a:custGeom>
            <a:solidFill>
              <a:srgbClr val="F7F7F7"/>
            </a:solidFill>
            <a:ln w="57150" cap="flat" cmpd="sng">
              <a:solidFill>
                <a:srgbClr val="F6323E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63775" tIns="163775" rIns="163775" bIns="16377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100"/>
                <a:buFont typeface="Arial"/>
                <a:buNone/>
              </a:pPr>
              <a:endParaRPr sz="2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6" name="Google Shape;306;p18"/>
            <p:cNvSpPr/>
            <p:nvPr/>
          </p:nvSpPr>
          <p:spPr>
            <a:xfrm>
              <a:off x="5023177" y="3494562"/>
              <a:ext cx="936302" cy="936302"/>
            </a:xfrm>
            <a:custGeom>
              <a:avLst/>
              <a:gdLst/>
              <a:ahLst/>
              <a:cxnLst/>
              <a:rect l="l" t="t" r="r" b="b"/>
              <a:pathLst>
                <a:path w="936302" h="936302" extrusionOk="0">
                  <a:moveTo>
                    <a:pt x="0" y="468151"/>
                  </a:moveTo>
                  <a:cubicBezTo>
                    <a:pt x="0" y="209598"/>
                    <a:pt x="209598" y="0"/>
                    <a:pt x="468151" y="0"/>
                  </a:cubicBezTo>
                  <a:cubicBezTo>
                    <a:pt x="726704" y="0"/>
                    <a:pt x="936302" y="209598"/>
                    <a:pt x="936302" y="468151"/>
                  </a:cubicBezTo>
                  <a:cubicBezTo>
                    <a:pt x="936302" y="726704"/>
                    <a:pt x="726704" y="936302"/>
                    <a:pt x="468151" y="936302"/>
                  </a:cubicBezTo>
                  <a:cubicBezTo>
                    <a:pt x="209598" y="936302"/>
                    <a:pt x="0" y="726704"/>
                    <a:pt x="0" y="468151"/>
                  </a:cubicBezTo>
                  <a:close/>
                </a:path>
              </a:pathLst>
            </a:custGeom>
            <a:solidFill>
              <a:srgbClr val="F1F1F2"/>
            </a:solidFill>
            <a:ln w="57150" cap="flat" cmpd="sng">
              <a:solidFill>
                <a:srgbClr val="9D9D9D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63775" tIns="163775" rIns="163775" bIns="16377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100"/>
                <a:buFont typeface="Arial"/>
                <a:buNone/>
              </a:pPr>
              <a:endParaRPr sz="2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7" name="Google Shape;307;p18"/>
            <p:cNvSpPr/>
            <p:nvPr/>
          </p:nvSpPr>
          <p:spPr>
            <a:xfrm>
              <a:off x="3657379" y="4060295"/>
              <a:ext cx="936302" cy="936302"/>
            </a:xfrm>
            <a:custGeom>
              <a:avLst/>
              <a:gdLst/>
              <a:ahLst/>
              <a:cxnLst/>
              <a:rect l="l" t="t" r="r" b="b"/>
              <a:pathLst>
                <a:path w="936302" h="936302" extrusionOk="0">
                  <a:moveTo>
                    <a:pt x="0" y="468151"/>
                  </a:moveTo>
                  <a:cubicBezTo>
                    <a:pt x="0" y="209598"/>
                    <a:pt x="209598" y="0"/>
                    <a:pt x="468151" y="0"/>
                  </a:cubicBezTo>
                  <a:cubicBezTo>
                    <a:pt x="726704" y="0"/>
                    <a:pt x="936302" y="209598"/>
                    <a:pt x="936302" y="468151"/>
                  </a:cubicBezTo>
                  <a:cubicBezTo>
                    <a:pt x="936302" y="726704"/>
                    <a:pt x="726704" y="936302"/>
                    <a:pt x="468151" y="936302"/>
                  </a:cubicBezTo>
                  <a:cubicBezTo>
                    <a:pt x="209598" y="936302"/>
                    <a:pt x="0" y="726704"/>
                    <a:pt x="0" y="468151"/>
                  </a:cubicBezTo>
                  <a:close/>
                </a:path>
              </a:pathLst>
            </a:custGeom>
            <a:solidFill>
              <a:srgbClr val="F1F1F2"/>
            </a:solidFill>
            <a:ln w="57150" cap="flat" cmpd="sng">
              <a:solidFill>
                <a:srgbClr val="F6323E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87900" tIns="187900" rIns="187900" bIns="1879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000"/>
                <a:buFont typeface="Arial"/>
                <a:buNone/>
              </a:pPr>
              <a:endParaRPr sz="5333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8" name="Google Shape;308;p18"/>
            <p:cNvSpPr/>
            <p:nvPr/>
          </p:nvSpPr>
          <p:spPr>
            <a:xfrm>
              <a:off x="2291582" y="3494564"/>
              <a:ext cx="936302" cy="936302"/>
            </a:xfrm>
            <a:custGeom>
              <a:avLst/>
              <a:gdLst/>
              <a:ahLst/>
              <a:cxnLst/>
              <a:rect l="l" t="t" r="r" b="b"/>
              <a:pathLst>
                <a:path w="936302" h="936302" extrusionOk="0">
                  <a:moveTo>
                    <a:pt x="0" y="468151"/>
                  </a:moveTo>
                  <a:cubicBezTo>
                    <a:pt x="0" y="209598"/>
                    <a:pt x="209598" y="0"/>
                    <a:pt x="468151" y="0"/>
                  </a:cubicBezTo>
                  <a:cubicBezTo>
                    <a:pt x="726704" y="0"/>
                    <a:pt x="936302" y="209598"/>
                    <a:pt x="936302" y="468151"/>
                  </a:cubicBezTo>
                  <a:cubicBezTo>
                    <a:pt x="936302" y="726704"/>
                    <a:pt x="726704" y="936302"/>
                    <a:pt x="468151" y="936302"/>
                  </a:cubicBezTo>
                  <a:cubicBezTo>
                    <a:pt x="209598" y="936302"/>
                    <a:pt x="0" y="726704"/>
                    <a:pt x="0" y="468151"/>
                  </a:cubicBezTo>
                  <a:close/>
                </a:path>
              </a:pathLst>
            </a:custGeom>
            <a:solidFill>
              <a:srgbClr val="F1F1F2"/>
            </a:solidFill>
            <a:ln w="57150" cap="flat" cmpd="sng">
              <a:solidFill>
                <a:srgbClr val="A8A8A8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87900" tIns="187900" rIns="187900" bIns="1879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000"/>
                <a:buFont typeface="Arial"/>
                <a:buNone/>
              </a:pPr>
              <a:endParaRPr sz="5333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9" name="Google Shape;309;p18"/>
            <p:cNvSpPr/>
            <p:nvPr/>
          </p:nvSpPr>
          <p:spPr>
            <a:xfrm>
              <a:off x="1725851" y="2128764"/>
              <a:ext cx="936302" cy="936302"/>
            </a:xfrm>
            <a:custGeom>
              <a:avLst/>
              <a:gdLst/>
              <a:ahLst/>
              <a:cxnLst/>
              <a:rect l="l" t="t" r="r" b="b"/>
              <a:pathLst>
                <a:path w="936302" h="936302" extrusionOk="0">
                  <a:moveTo>
                    <a:pt x="0" y="468151"/>
                  </a:moveTo>
                  <a:cubicBezTo>
                    <a:pt x="0" y="209598"/>
                    <a:pt x="209598" y="0"/>
                    <a:pt x="468151" y="0"/>
                  </a:cubicBezTo>
                  <a:cubicBezTo>
                    <a:pt x="726704" y="0"/>
                    <a:pt x="936302" y="209598"/>
                    <a:pt x="936302" y="468151"/>
                  </a:cubicBezTo>
                  <a:cubicBezTo>
                    <a:pt x="936302" y="726704"/>
                    <a:pt x="726704" y="936302"/>
                    <a:pt x="468151" y="936302"/>
                  </a:cubicBezTo>
                  <a:cubicBezTo>
                    <a:pt x="209598" y="936302"/>
                    <a:pt x="0" y="726704"/>
                    <a:pt x="0" y="468151"/>
                  </a:cubicBezTo>
                  <a:close/>
                </a:path>
              </a:pathLst>
            </a:custGeom>
            <a:solidFill>
              <a:srgbClr val="F1F1F2"/>
            </a:solidFill>
            <a:ln w="5715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87900" tIns="187900" rIns="187900" bIns="1879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000"/>
                <a:buFont typeface="Arial"/>
                <a:buNone/>
              </a:pPr>
              <a:endParaRPr sz="5333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0" name="Google Shape;310;p18"/>
            <p:cNvSpPr/>
            <p:nvPr/>
          </p:nvSpPr>
          <p:spPr>
            <a:xfrm>
              <a:off x="2291581" y="762965"/>
              <a:ext cx="936302" cy="936302"/>
            </a:xfrm>
            <a:custGeom>
              <a:avLst/>
              <a:gdLst/>
              <a:ahLst/>
              <a:cxnLst/>
              <a:rect l="l" t="t" r="r" b="b"/>
              <a:pathLst>
                <a:path w="936302" h="936302" extrusionOk="0">
                  <a:moveTo>
                    <a:pt x="0" y="468151"/>
                  </a:moveTo>
                  <a:cubicBezTo>
                    <a:pt x="0" y="209598"/>
                    <a:pt x="209598" y="0"/>
                    <a:pt x="468151" y="0"/>
                  </a:cubicBezTo>
                  <a:cubicBezTo>
                    <a:pt x="726704" y="0"/>
                    <a:pt x="936302" y="209598"/>
                    <a:pt x="936302" y="468151"/>
                  </a:cubicBezTo>
                  <a:cubicBezTo>
                    <a:pt x="936302" y="726704"/>
                    <a:pt x="726704" y="936302"/>
                    <a:pt x="468151" y="936302"/>
                  </a:cubicBezTo>
                  <a:cubicBezTo>
                    <a:pt x="209598" y="936302"/>
                    <a:pt x="0" y="726704"/>
                    <a:pt x="0" y="468151"/>
                  </a:cubicBezTo>
                  <a:close/>
                </a:path>
              </a:pathLst>
            </a:custGeom>
            <a:solidFill>
              <a:srgbClr val="F7F7F7"/>
            </a:solidFill>
            <a:ln w="57150" cap="flat" cmpd="sng">
              <a:solidFill>
                <a:srgbClr val="989898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87900" tIns="187900" rIns="187900" bIns="1879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000"/>
                <a:buFont typeface="Arial"/>
                <a:buNone/>
              </a:pPr>
              <a:endParaRPr sz="5333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311" name="Google Shape;311;p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208691" y="2097027"/>
            <a:ext cx="487755" cy="48775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2" name="Google Shape;312;p1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29496" y="5120947"/>
            <a:ext cx="487755" cy="48775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3" name="Google Shape;313;p1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381045" y="4306159"/>
            <a:ext cx="487755" cy="48775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4" name="Google Shape;314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46839" y="3045489"/>
            <a:ext cx="487755" cy="48775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5" name="Google Shape;315;p18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494751" y="2025033"/>
            <a:ext cx="487755" cy="48775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6" name="Google Shape;316;p18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7475840" y="2910179"/>
            <a:ext cx="487755" cy="48775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7" name="Google Shape;317;p18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521807" y="4193376"/>
            <a:ext cx="487755" cy="48775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8" name="Google Shape;318;p18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5352852" y="5170392"/>
            <a:ext cx="487755" cy="487755"/>
          </a:xfrm>
          <a:prstGeom prst="rect">
            <a:avLst/>
          </a:prstGeom>
          <a:noFill/>
          <a:ln>
            <a:noFill/>
          </a:ln>
        </p:spPr>
      </p:pic>
      <p:sp>
        <p:nvSpPr>
          <p:cNvPr id="319" name="Google Shape;319;p18"/>
          <p:cNvSpPr txBox="1">
            <a:spLocks noGrp="1"/>
          </p:cNvSpPr>
          <p:nvPr>
            <p:ph type="body" idx="28"/>
          </p:nvPr>
        </p:nvSpPr>
        <p:spPr>
          <a:xfrm>
            <a:off x="5403567" y="3630875"/>
            <a:ext cx="1577200" cy="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89898"/>
              </a:buClr>
              <a:buSzPts val="1100"/>
              <a:buFont typeface="Arial"/>
              <a:buNone/>
              <a:defRPr sz="1467" b="1" i="0" u="none" strike="noStrike" cap="none">
                <a:solidFill>
                  <a:srgbClr val="98989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0" name="Google Shape;320;p18"/>
          <p:cNvSpPr/>
          <p:nvPr/>
        </p:nvSpPr>
        <p:spPr>
          <a:xfrm>
            <a:off x="0" y="0"/>
            <a:ext cx="12192000" cy="849200"/>
          </a:xfrm>
          <a:prstGeom prst="rect">
            <a:avLst/>
          </a:prstGeom>
          <a:solidFill>
            <a:srgbClr val="F5333F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13"/>
              <a:buFont typeface="Arial"/>
              <a:buNone/>
            </a:pPr>
            <a:endParaRPr sz="1351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1" name="Google Shape;321;p18"/>
          <p:cNvSpPr txBox="1">
            <a:spLocks noGrp="1"/>
          </p:cNvSpPr>
          <p:nvPr>
            <p:ph type="title"/>
          </p:nvPr>
        </p:nvSpPr>
        <p:spPr>
          <a:xfrm>
            <a:off x="422239" y="162621"/>
            <a:ext cx="4981200" cy="5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22" name="Google Shape;322;p18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10572384" y="280085"/>
            <a:ext cx="1084840" cy="2896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ustom Layout">
  <p:cSld name="9_Custom Layout">
    <p:spTree>
      <p:nvGrpSpPr>
        <p:cNvPr id="1" name="Shape 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" name="Google Shape;324;p19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325" name="Google Shape;325;p19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26" name="Google Shape;326;p19"/>
          <p:cNvSpPr txBox="1">
            <a:spLocks noGrp="1"/>
          </p:cNvSpPr>
          <p:nvPr>
            <p:ph type="body" idx="1"/>
          </p:nvPr>
        </p:nvSpPr>
        <p:spPr>
          <a:xfrm>
            <a:off x="840317" y="1940984"/>
            <a:ext cx="3911600" cy="408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20"/>
              <a:buFont typeface="Arial"/>
              <a:buNone/>
              <a:defRPr sz="2427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7" name="Google Shape;327;p19"/>
          <p:cNvSpPr>
            <a:spLocks noGrp="1"/>
          </p:cNvSpPr>
          <p:nvPr>
            <p:ph type="chart" idx="2"/>
          </p:nvPr>
        </p:nvSpPr>
        <p:spPr>
          <a:xfrm>
            <a:off x="4902200" y="1955800"/>
            <a:ext cx="6460000" cy="40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328" name="Google Shape;328;p19"/>
          <p:cNvSpPr/>
          <p:nvPr/>
        </p:nvSpPr>
        <p:spPr>
          <a:xfrm>
            <a:off x="0" y="0"/>
            <a:ext cx="12192000" cy="849200"/>
          </a:xfrm>
          <a:prstGeom prst="rect">
            <a:avLst/>
          </a:prstGeom>
          <a:solidFill>
            <a:srgbClr val="F5333F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13"/>
              <a:buFont typeface="Arial"/>
              <a:buNone/>
            </a:pPr>
            <a:endParaRPr sz="1351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9" name="Google Shape;329;p19"/>
          <p:cNvSpPr txBox="1">
            <a:spLocks noGrp="1"/>
          </p:cNvSpPr>
          <p:nvPr>
            <p:ph type="title"/>
          </p:nvPr>
        </p:nvSpPr>
        <p:spPr>
          <a:xfrm>
            <a:off x="422239" y="162621"/>
            <a:ext cx="4981200" cy="5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30" name="Google Shape;330;p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72384" y="280085"/>
            <a:ext cx="1084840" cy="2896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  <p15:guide id="2" pos="2993" userDrawn="1">
          <p15:clr>
            <a:srgbClr val="FBAE40"/>
          </p15:clr>
        </p15:guide>
        <p15:guide id="3" orient="horz" pos="1223" userDrawn="1">
          <p15:clr>
            <a:srgbClr val="FBAE40"/>
          </p15:clr>
        </p15:guide>
        <p15:guide id="4" orient="horz" pos="3793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" name="Google Shape;345;p2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Lato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46" name="Google Shape;346;p2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lvl="0" indent="-482588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>
                <a:latin typeface="Lato"/>
                <a:ea typeface="Lato"/>
                <a:cs typeface="Lato"/>
                <a:sym typeface="Lato"/>
              </a:defRPr>
            </a:lvl1pPr>
            <a:lvl2pPr marL="121917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latin typeface="Lato"/>
                <a:ea typeface="Lato"/>
                <a:cs typeface="Lato"/>
                <a:sym typeface="Lato"/>
              </a:defRPr>
            </a:lvl2pPr>
            <a:lvl3pPr marL="1828754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>
                <a:latin typeface="Lato"/>
                <a:ea typeface="Lato"/>
                <a:cs typeface="Lato"/>
                <a:sym typeface="Lato"/>
              </a:defRPr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latin typeface="Lato"/>
                <a:ea typeface="Lato"/>
                <a:cs typeface="Lato"/>
                <a:sym typeface="Lato"/>
              </a:defRPr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latin typeface="Lato"/>
                <a:ea typeface="Lato"/>
                <a:cs typeface="Lato"/>
                <a:sym typeface="Lato"/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47" name="Google Shape;347;p22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348" name="Google Shape;348;p22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349" name="Google Shape;349;p22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Divider">
  <p:cSld name="2_Divider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3" name="Google Shape;23;p3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Proxima Nova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 dirty="0"/>
          </a:p>
        </p:txBody>
      </p:sp>
      <p:sp>
        <p:nvSpPr>
          <p:cNvPr id="24" name="Google Shape;24;p3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Proxima Nova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Proxima Nova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Proxima Nova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Proxima Nova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Proxima Nova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Proxima Nova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Proxima Nova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Proxima Nova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Proxima Nova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25" name="Google Shape;25;p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38200" y="728134"/>
            <a:ext cx="4346357" cy="5378653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Google Shape;26;p3"/>
          <p:cNvSpPr txBox="1"/>
          <p:nvPr/>
        </p:nvSpPr>
        <p:spPr>
          <a:xfrm>
            <a:off x="1295400" y="1680839"/>
            <a:ext cx="3404000" cy="21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IN" sz="1867" b="0" i="0" u="none" strike="noStrike" cap="none" dirty="0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rPr>
              <a:t>Edit Master text styles</a:t>
            </a:r>
            <a:endParaRPr sz="2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7" name="Google Shape;27;p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38200" y="728134"/>
            <a:ext cx="4346357" cy="5378653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Google Shape;28;p3"/>
          <p:cNvSpPr txBox="1"/>
          <p:nvPr/>
        </p:nvSpPr>
        <p:spPr>
          <a:xfrm>
            <a:off x="1295400" y="1680839"/>
            <a:ext cx="3404000" cy="21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IN" sz="1867" b="0" i="0" u="none" strike="noStrike" cap="none" dirty="0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rPr>
              <a:t>Edit Master text styles</a:t>
            </a:r>
            <a:endParaRPr sz="2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53" userDrawn="1">
          <p15:clr>
            <a:srgbClr val="FBAE40"/>
          </p15:clr>
        </p15:guide>
        <p15:guide id="2" pos="816" userDrawn="1">
          <p15:clr>
            <a:srgbClr val="FBAE40"/>
          </p15:clr>
        </p15:guide>
        <p15:guide id="3" pos="2963" userDrawn="1">
          <p15:clr>
            <a:srgbClr val="FBAE40"/>
          </p15:clr>
        </p15:guide>
        <p15:guide id="4" orient="horz" pos="216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3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1" name="Google Shape;351;p2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Lato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52" name="Google Shape;352;p23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353" name="Google Shape;353;p23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354" name="Google Shape;354;p23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" name="Google Shape;356;p24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500"/>
              <a:buFont typeface="Lato"/>
              <a:buNone/>
              <a:defRPr sz="6000"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57" name="Google Shape;357;p24"/>
          <p:cNvSpPr txBox="1"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>
                <a:latin typeface="Lato"/>
                <a:ea typeface="Lato"/>
                <a:cs typeface="Lato"/>
                <a:sym typeface="Lato"/>
              </a:defRPr>
            </a:lvl1pPr>
            <a:lvl2pPr lvl="1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2000"/>
            </a:lvl2pPr>
            <a:lvl3pPr lvl="2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867"/>
            </a:lvl3pPr>
            <a:lvl4pPr lvl="3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4pPr>
            <a:lvl5pPr lvl="4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358" name="Google Shape;358;p24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359" name="Google Shape;359;p24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360" name="Google Shape;360;p24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Google Shape;362;p25"/>
          <p:cNvSpPr txBox="1">
            <a:spLocks noGrp="1"/>
          </p:cNvSpPr>
          <p:nvPr>
            <p:ph type="title"/>
          </p:nvPr>
        </p:nvSpPr>
        <p:spPr>
          <a:xfrm>
            <a:off x="831851" y="1709739"/>
            <a:ext cx="10515600" cy="285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500"/>
              <a:buFont typeface="Lato"/>
              <a:buNone/>
              <a:defRPr sz="6000"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63" name="Google Shape;363;p25"/>
          <p:cNvSpPr txBox="1">
            <a:spLocks noGrp="1"/>
          </p:cNvSpPr>
          <p:nvPr>
            <p:ph type="body" idx="1"/>
          </p:nvPr>
        </p:nvSpPr>
        <p:spPr>
          <a:xfrm>
            <a:off x="831851" y="4589463"/>
            <a:ext cx="105156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2400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 sz="2000">
                <a:solidFill>
                  <a:srgbClr val="888888"/>
                </a:solidFill>
              </a:defRPr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867">
                <a:solidFill>
                  <a:srgbClr val="888888"/>
                </a:solidFill>
              </a:defRPr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5pPr>
            <a:lvl6pPr marL="3657509" lvl="5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6pPr>
            <a:lvl7pPr marL="4267093" lvl="6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7pPr>
            <a:lvl8pPr marL="4876678" lvl="7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8pPr>
            <a:lvl9pPr marL="5486263" lvl="8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64" name="Google Shape;364;p25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365" name="Google Shape;365;p25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366" name="Google Shape;366;p25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p2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Lato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69" name="Google Shape;369;p2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lvl="0" indent="-482588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>
                <a:latin typeface="Lato"/>
                <a:ea typeface="Lato"/>
                <a:cs typeface="Lato"/>
                <a:sym typeface="Lato"/>
              </a:defRPr>
            </a:lvl1pPr>
            <a:lvl2pPr marL="121917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latin typeface="Lato"/>
                <a:ea typeface="Lato"/>
                <a:cs typeface="Lato"/>
                <a:sym typeface="Lato"/>
              </a:defRPr>
            </a:lvl2pPr>
            <a:lvl3pPr marL="1828754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>
                <a:latin typeface="Lato"/>
                <a:ea typeface="Lato"/>
                <a:cs typeface="Lato"/>
                <a:sym typeface="Lato"/>
              </a:defRPr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latin typeface="Lato"/>
                <a:ea typeface="Lato"/>
                <a:cs typeface="Lato"/>
                <a:sym typeface="Lato"/>
              </a:defRPr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latin typeface="Lato"/>
                <a:ea typeface="Lato"/>
                <a:cs typeface="Lato"/>
                <a:sym typeface="Lato"/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70" name="Google Shape;370;p26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lvl="0" indent="-482588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>
                <a:latin typeface="Lato"/>
                <a:ea typeface="Lato"/>
                <a:cs typeface="Lato"/>
                <a:sym typeface="Lato"/>
              </a:defRPr>
            </a:lvl1pPr>
            <a:lvl2pPr marL="121917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latin typeface="Lato"/>
                <a:ea typeface="Lato"/>
                <a:cs typeface="Lato"/>
                <a:sym typeface="Lato"/>
              </a:defRPr>
            </a:lvl2pPr>
            <a:lvl3pPr marL="1828754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>
                <a:latin typeface="Lato"/>
                <a:ea typeface="Lato"/>
                <a:cs typeface="Lato"/>
                <a:sym typeface="Lato"/>
              </a:defRPr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latin typeface="Lato"/>
                <a:ea typeface="Lato"/>
                <a:cs typeface="Lato"/>
                <a:sym typeface="Lato"/>
              </a:defRPr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latin typeface="Lato"/>
                <a:ea typeface="Lato"/>
                <a:cs typeface="Lato"/>
                <a:sym typeface="Lato"/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71" name="Google Shape;371;p26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372" name="Google Shape;372;p26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373" name="Google Shape;373;p26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5" name="Google Shape;375;p27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Lato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76" name="Google Shape;376;p27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8000" cy="8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 b="1">
                <a:latin typeface="Lato"/>
                <a:ea typeface="Lato"/>
                <a:cs typeface="Lato"/>
                <a:sym typeface="Lato"/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2000" b="1"/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867" b="1"/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5pPr>
            <a:lvl6pPr marL="3657509" lvl="5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6pPr>
            <a:lvl7pPr marL="4267093" lvl="6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7pPr>
            <a:lvl8pPr marL="4876678" lvl="7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8pPr>
            <a:lvl9pPr marL="5486263" lvl="8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9pPr>
          </a:lstStyle>
          <a:p>
            <a:endParaRPr/>
          </a:p>
        </p:txBody>
      </p:sp>
      <p:sp>
        <p:nvSpPr>
          <p:cNvPr id="377" name="Google Shape;377;p27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8000" cy="368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lvl="0" indent="-482588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>
                <a:latin typeface="Lato"/>
                <a:ea typeface="Lato"/>
                <a:cs typeface="Lato"/>
                <a:sym typeface="Lato"/>
              </a:defRPr>
            </a:lvl1pPr>
            <a:lvl2pPr marL="121917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latin typeface="Lato"/>
                <a:ea typeface="Lato"/>
                <a:cs typeface="Lato"/>
                <a:sym typeface="Lato"/>
              </a:defRPr>
            </a:lvl2pPr>
            <a:lvl3pPr marL="1828754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>
                <a:latin typeface="Lato"/>
                <a:ea typeface="Lato"/>
                <a:cs typeface="Lato"/>
                <a:sym typeface="Lato"/>
              </a:defRPr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latin typeface="Lato"/>
                <a:ea typeface="Lato"/>
                <a:cs typeface="Lato"/>
                <a:sym typeface="Lato"/>
              </a:defRPr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latin typeface="Lato"/>
                <a:ea typeface="Lato"/>
                <a:cs typeface="Lato"/>
                <a:sym typeface="Lato"/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78" name="Google Shape;378;p2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200" cy="8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 b="1">
                <a:latin typeface="Lato"/>
                <a:ea typeface="Lato"/>
                <a:cs typeface="Lato"/>
                <a:sym typeface="Lato"/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2000" b="1"/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867" b="1"/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5pPr>
            <a:lvl6pPr marL="3657509" lvl="5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6pPr>
            <a:lvl7pPr marL="4267093" lvl="6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7pPr>
            <a:lvl8pPr marL="4876678" lvl="7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8pPr>
            <a:lvl9pPr marL="5486263" lvl="8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9pPr>
          </a:lstStyle>
          <a:p>
            <a:endParaRPr/>
          </a:p>
        </p:txBody>
      </p:sp>
      <p:sp>
        <p:nvSpPr>
          <p:cNvPr id="379" name="Google Shape;379;p2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200" cy="368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lvl="0" indent="-482588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>
                <a:latin typeface="Lato"/>
                <a:ea typeface="Lato"/>
                <a:cs typeface="Lato"/>
                <a:sym typeface="Lato"/>
              </a:defRPr>
            </a:lvl1pPr>
            <a:lvl2pPr marL="121917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latin typeface="Lato"/>
                <a:ea typeface="Lato"/>
                <a:cs typeface="Lato"/>
                <a:sym typeface="Lato"/>
              </a:defRPr>
            </a:lvl2pPr>
            <a:lvl3pPr marL="1828754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>
                <a:latin typeface="Lato"/>
                <a:ea typeface="Lato"/>
                <a:cs typeface="Lato"/>
                <a:sym typeface="Lato"/>
              </a:defRPr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latin typeface="Lato"/>
                <a:ea typeface="Lato"/>
                <a:cs typeface="Lato"/>
                <a:sym typeface="Lato"/>
              </a:defRPr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latin typeface="Lato"/>
                <a:ea typeface="Lato"/>
                <a:cs typeface="Lato"/>
                <a:sym typeface="Lato"/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80" name="Google Shape;380;p27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381" name="Google Shape;381;p27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382" name="Google Shape;382;p27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p28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385" name="Google Shape;385;p28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386" name="Google Shape;386;p28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" name="Google Shape;388;p29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000" cy="16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Lato"/>
              <a:buNone/>
              <a:defRPr sz="3200"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89" name="Google Shape;389;p29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400" cy="487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lvl="0" indent="-507987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3200">
                <a:latin typeface="Lato"/>
                <a:ea typeface="Lato"/>
                <a:cs typeface="Lato"/>
                <a:sym typeface="Lato"/>
              </a:defRPr>
            </a:lvl1pPr>
            <a:lvl2pPr marL="1219170" lvl="1" indent="-482588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 sz="2800">
                <a:latin typeface="Lato"/>
                <a:ea typeface="Lato"/>
                <a:cs typeface="Lato"/>
                <a:sym typeface="Lato"/>
              </a:defRPr>
            </a:lvl2pPr>
            <a:lvl3pPr marL="1828754" lvl="2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>
                <a:latin typeface="Lato"/>
                <a:ea typeface="Lato"/>
                <a:cs typeface="Lato"/>
                <a:sym typeface="Lato"/>
              </a:defRPr>
            </a:lvl3pPr>
            <a:lvl4pPr marL="2438339" lvl="3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>
                <a:latin typeface="Lato"/>
                <a:ea typeface="Lato"/>
                <a:cs typeface="Lato"/>
                <a:sym typeface="Lato"/>
              </a:defRPr>
            </a:lvl4pPr>
            <a:lvl5pPr marL="3047924" lvl="4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>
                <a:latin typeface="Lato"/>
                <a:ea typeface="Lato"/>
                <a:cs typeface="Lato"/>
                <a:sym typeface="Lato"/>
              </a:defRPr>
            </a:lvl5pPr>
            <a:lvl6pPr marL="3657509" lvl="5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/>
            </a:lvl6pPr>
            <a:lvl7pPr marL="4267093" lvl="6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/>
            </a:lvl7pPr>
            <a:lvl8pPr marL="4876678" lvl="7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/>
            </a:lvl8pPr>
            <a:lvl9pPr marL="5486263" lvl="8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/>
            </a:lvl9pPr>
          </a:lstStyle>
          <a:p>
            <a:endParaRPr/>
          </a:p>
        </p:txBody>
      </p:sp>
      <p:sp>
        <p:nvSpPr>
          <p:cNvPr id="390" name="Google Shape;390;p29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000" cy="381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>
                <a:latin typeface="Lato"/>
                <a:ea typeface="Lato"/>
                <a:cs typeface="Lato"/>
                <a:sym typeface="Lato"/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467"/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5pPr>
            <a:lvl6pPr marL="3657509" lvl="5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6pPr>
            <a:lvl7pPr marL="4267093" lvl="6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7pPr>
            <a:lvl8pPr marL="4876678" lvl="7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8pPr>
            <a:lvl9pPr marL="5486263" lvl="8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9pPr>
          </a:lstStyle>
          <a:p>
            <a:endParaRPr/>
          </a:p>
        </p:txBody>
      </p:sp>
      <p:sp>
        <p:nvSpPr>
          <p:cNvPr id="391" name="Google Shape;391;p29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392" name="Google Shape;392;p29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393" name="Google Shape;393;p29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p3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000" cy="16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Lato"/>
              <a:buNone/>
              <a:defRPr sz="3200"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96" name="Google Shape;396;p30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400" cy="487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1pPr>
            <a:lvl2pPr marR="0" lvl="1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2pPr>
            <a:lvl3pPr marR="0" lvl="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3pPr>
            <a:lvl4pPr marR="0" lvl="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4pPr>
            <a:lvl5pPr marR="0" lvl="4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5pPr>
            <a:lvl6pPr marR="0" lvl="5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397" name="Google Shape;397;p30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000" cy="381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>
                <a:latin typeface="Lato"/>
                <a:ea typeface="Lato"/>
                <a:cs typeface="Lato"/>
                <a:sym typeface="Lato"/>
              </a:defRPr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467"/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5pPr>
            <a:lvl6pPr marL="3657509" lvl="5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6pPr>
            <a:lvl7pPr marL="4267093" lvl="6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7pPr>
            <a:lvl8pPr marL="4876678" lvl="7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8pPr>
            <a:lvl9pPr marL="5486263" lvl="8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9pPr>
          </a:lstStyle>
          <a:p>
            <a:endParaRPr/>
          </a:p>
        </p:txBody>
      </p:sp>
      <p:sp>
        <p:nvSpPr>
          <p:cNvPr id="398" name="Google Shape;398;p30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399" name="Google Shape;399;p30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400" name="Google Shape;400;p30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p3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Lato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403" name="Google Shape;403;p31"/>
          <p:cNvSpPr txBox="1">
            <a:spLocks noGrp="1"/>
          </p:cNvSpPr>
          <p:nvPr>
            <p:ph type="body" idx="1"/>
          </p:nvPr>
        </p:nvSpPr>
        <p:spPr>
          <a:xfrm rot="5400000">
            <a:off x="3920400" y="-1256575"/>
            <a:ext cx="4351200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lvl="0" indent="-482588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>
                <a:latin typeface="Lato"/>
                <a:ea typeface="Lato"/>
                <a:cs typeface="Lato"/>
                <a:sym typeface="Lato"/>
              </a:defRPr>
            </a:lvl1pPr>
            <a:lvl2pPr marL="121917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latin typeface="Lato"/>
                <a:ea typeface="Lato"/>
                <a:cs typeface="Lato"/>
                <a:sym typeface="Lato"/>
              </a:defRPr>
            </a:lvl2pPr>
            <a:lvl3pPr marL="1828754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>
                <a:latin typeface="Lato"/>
                <a:ea typeface="Lato"/>
                <a:cs typeface="Lato"/>
                <a:sym typeface="Lato"/>
              </a:defRPr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latin typeface="Lato"/>
                <a:ea typeface="Lato"/>
                <a:cs typeface="Lato"/>
                <a:sym typeface="Lato"/>
              </a:defRPr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latin typeface="Lato"/>
                <a:ea typeface="Lato"/>
                <a:cs typeface="Lato"/>
                <a:sym typeface="Lato"/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404" name="Google Shape;404;p31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405" name="Google Shape;405;p31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406" name="Google Shape;406;p3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4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8" name="Google Shape;408;p32"/>
          <p:cNvSpPr txBox="1">
            <a:spLocks noGrp="1"/>
          </p:cNvSpPr>
          <p:nvPr>
            <p:ph type="title"/>
          </p:nvPr>
        </p:nvSpPr>
        <p:spPr>
          <a:xfrm rot="5400000">
            <a:off x="7133400" y="1956725"/>
            <a:ext cx="5812000" cy="26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Lato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409" name="Google Shape;409;p32"/>
          <p:cNvSpPr txBox="1">
            <a:spLocks noGrp="1"/>
          </p:cNvSpPr>
          <p:nvPr>
            <p:ph type="body" idx="1"/>
          </p:nvPr>
        </p:nvSpPr>
        <p:spPr>
          <a:xfrm rot="5400000">
            <a:off x="1799300" y="-596075"/>
            <a:ext cx="5812000" cy="773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lvl="0" indent="-482588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>
                <a:latin typeface="Lato"/>
                <a:ea typeface="Lato"/>
                <a:cs typeface="Lato"/>
                <a:sym typeface="Lato"/>
              </a:defRPr>
            </a:lvl1pPr>
            <a:lvl2pPr marL="121917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latin typeface="Lato"/>
                <a:ea typeface="Lato"/>
                <a:cs typeface="Lato"/>
                <a:sym typeface="Lato"/>
              </a:defRPr>
            </a:lvl2pPr>
            <a:lvl3pPr marL="1828754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>
                <a:latin typeface="Lato"/>
                <a:ea typeface="Lato"/>
                <a:cs typeface="Lato"/>
                <a:sym typeface="Lato"/>
              </a:defRPr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latin typeface="Lato"/>
                <a:ea typeface="Lato"/>
                <a:cs typeface="Lato"/>
                <a:sym typeface="Lato"/>
              </a:defRPr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latin typeface="Lato"/>
                <a:ea typeface="Lato"/>
                <a:cs typeface="Lato"/>
                <a:sym typeface="Lato"/>
              </a:defRPr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410" name="Google Shape;410;p32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411" name="Google Shape;411;p32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412" name="Google Shape;412;p32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4"/>
          <p:cNvSpPr/>
          <p:nvPr/>
        </p:nvSpPr>
        <p:spPr>
          <a:xfrm>
            <a:off x="-575" y="0"/>
            <a:ext cx="12192000" cy="6858000"/>
          </a:xfrm>
          <a:prstGeom prst="rect">
            <a:avLst/>
          </a:prstGeom>
          <a:solidFill>
            <a:srgbClr val="F1333F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24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" name="Google Shape;31;p4"/>
          <p:cNvSpPr txBox="1">
            <a:spLocks noGrp="1"/>
          </p:cNvSpPr>
          <p:nvPr>
            <p:ph type="title"/>
          </p:nvPr>
        </p:nvSpPr>
        <p:spPr>
          <a:xfrm>
            <a:off x="840317" y="725997"/>
            <a:ext cx="7987600" cy="7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4800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4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33" name="Google Shape;33;p4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34" name="Google Shape;34;p4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35" name="Google Shape;35;p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49227" y="404813"/>
            <a:ext cx="1213040" cy="323851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Google Shape;36;p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333F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24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7" name="Google Shape;37;p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72384" y="280085"/>
            <a:ext cx="1084840" cy="2896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E06393-3FA6-4991-8F3C-91E41F1F49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8DD168-9FB7-4313-9B47-75C79FC541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1FFEC0-8F4D-44E9-A331-FF06280D85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DA7A2-E748-4B52-AFA0-8AD8A4CE3636}" type="datetimeFigureOut">
              <a:rPr lang="en-IN" smtClean="0"/>
              <a:t>09-09-2020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FC42DE-D918-48F0-9DEC-2DA45A34CB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24F2A0-82C1-4E4B-BC58-4C0312C3F4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DC336A-7820-4F2E-84B1-A710EA016BAA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367848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D68DC1-7BA6-45EE-B886-78CF6F859D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6DF696-CFA4-4DE1-9E3C-D400D1BBBB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D55D37-419E-4E59-A0EF-F0699C2B7B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DA7A2-E748-4B52-AFA0-8AD8A4CE3636}" type="datetimeFigureOut">
              <a:rPr lang="en-IN" smtClean="0"/>
              <a:t>09-09-2020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2A89A8-5573-4314-A201-A48D177B7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17E33D-D09B-4A32-B3BC-BCDEDB686A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DC336A-7820-4F2E-84B1-A710EA016BAA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969997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BCEA79-E100-4735-868D-56E0DD731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C7E67A-2825-4B56-8B15-695E1D29F1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468FC8-DB53-49EA-A3F6-BE65106437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DA7A2-E748-4B52-AFA0-8AD8A4CE3636}" type="datetimeFigureOut">
              <a:rPr lang="en-IN" smtClean="0"/>
              <a:t>09-09-2020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7E7C7B-A257-4495-89A0-C284306D1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3705FC-F01F-47FC-B81D-EC0A0386F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DC336A-7820-4F2E-84B1-A710EA016BAA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2747429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BB23CC-CF19-4DA9-A1AA-126B06D4E7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0B5AAF-4BC0-463C-A2DA-EED0DDC872E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A8D58-A926-40B1-858A-5CD69B6813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6AE7AF-DC75-4391-A22E-5440BA404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DA7A2-E748-4B52-AFA0-8AD8A4CE3636}" type="datetimeFigureOut">
              <a:rPr lang="en-IN" smtClean="0"/>
              <a:t>09-09-2020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5D6C28-C456-466B-AEC6-C028438E34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C8B2BE-A5A0-4EA9-AC65-77BB49CDAA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DC336A-7820-4F2E-84B1-A710EA016BAA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457686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31E75-B14C-4E34-8D03-AB9D35FBF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F0629F-BB02-4148-9344-32CCB32979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F4F0AA-F301-482D-BB4A-64C243278F8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7052A1-8F16-4F28-9E4D-793E78F4E8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0123D78-4BA6-4FB3-84CD-0A4007ACF41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D10BF6-E46A-48D0-AB70-EC88857A1E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DA7A2-E748-4B52-AFA0-8AD8A4CE3636}" type="datetimeFigureOut">
              <a:rPr lang="en-IN" smtClean="0"/>
              <a:t>09-09-2020</a:t>
            </a:fld>
            <a:endParaRPr lang="en-IN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88B1C53-1B8A-4233-91B0-CE1453D84D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1FEE5E2-4C9F-4C18-99E4-4ED9CEE66C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DC336A-7820-4F2E-84B1-A710EA016BAA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599527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23704D-C2AD-4CA9-A5A6-93A81C0B8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761ABB-72E4-430B-BD21-1AA7D7AEBF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DA7A2-E748-4B52-AFA0-8AD8A4CE3636}" type="datetimeFigureOut">
              <a:rPr lang="en-IN" smtClean="0"/>
              <a:t>09-09-2020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F5D6BD-CCF5-40B9-8C66-F39D01F5CD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28565C-8ED6-4066-8F4A-04D4C11CA8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DC336A-7820-4F2E-84B1-A710EA016BAA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288116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57E2891-F6A9-40F3-8784-0352782AA3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DA7A2-E748-4B52-AFA0-8AD8A4CE3636}" type="datetimeFigureOut">
              <a:rPr lang="en-IN" smtClean="0"/>
              <a:t>09-09-2020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13D9C66-9D97-406F-868C-1557D3B328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CAD9B1-5C15-4DC2-AE16-BAB6187C4C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DC336A-7820-4F2E-84B1-A710EA016BAA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9957034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EC24B6-D737-4C90-BA32-D7F5F8456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00028E-4EEF-4B10-8490-D5201A3D6B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F626A5-9E83-4F99-8E55-1FF557C125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A6E2A6-9EA7-41A5-8210-CB935317A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DA7A2-E748-4B52-AFA0-8AD8A4CE3636}" type="datetimeFigureOut">
              <a:rPr lang="en-IN" smtClean="0"/>
              <a:t>09-09-2020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EFD713-C158-43F5-939F-8E2725350C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267E0C-D1FF-4A9E-87A0-70BFA7BA59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DC336A-7820-4F2E-84B1-A710EA016BAA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3720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F32097-7BAA-4855-90D7-F83EE7298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21E58DC-C856-415C-9BBD-97FD3F87333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D23775-F40D-494C-878D-B936891B99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88182B-F1B2-4B7D-8CA4-9EDA2EEC47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DA7A2-E748-4B52-AFA0-8AD8A4CE3636}" type="datetimeFigureOut">
              <a:rPr lang="en-IN" smtClean="0"/>
              <a:t>09-09-2020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03A2CC-DE2D-4CEF-877C-EB4786C953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19776-DEE8-4835-887C-6F6CB9F21C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DC336A-7820-4F2E-84B1-A710EA016BAA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753545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3EA9F8-A561-4B65-99D9-FD050C6E61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91202BD-E2F7-4765-83B6-6D0C638896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31321F-AAD2-4230-9B82-C3C3F47B59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DA7A2-E748-4B52-AFA0-8AD8A4CE3636}" type="datetimeFigureOut">
              <a:rPr lang="en-IN" smtClean="0"/>
              <a:t>09-09-2020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D9695F-6EC1-460C-B859-A45A033A5C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18CC27-A2AF-4435-A695-3965C43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DC336A-7820-4F2E-84B1-A710EA016BAA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114992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2 Line Title, Infographics and Caption">
  <p:cSld name="2_2 Line Title, Infographics and Caption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5"/>
          <p:cNvSpPr/>
          <p:nvPr/>
        </p:nvSpPr>
        <p:spPr>
          <a:xfrm>
            <a:off x="-1" y="800101"/>
            <a:ext cx="12192000" cy="60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13"/>
              <a:buFont typeface="Arial"/>
              <a:buNone/>
            </a:pPr>
            <a:endParaRPr sz="1351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" name="Google Shape;40;p5"/>
          <p:cNvSpPr/>
          <p:nvPr/>
        </p:nvSpPr>
        <p:spPr>
          <a:xfrm>
            <a:off x="-4" y="-26732"/>
            <a:ext cx="12192000" cy="6858000"/>
          </a:xfrm>
          <a:prstGeom prst="rect">
            <a:avLst/>
          </a:prstGeom>
          <a:blipFill rotWithShape="1">
            <a:blip r:embed="rId2">
              <a:alphaModFix amt="17000"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13"/>
              <a:buFont typeface="Arial"/>
              <a:buNone/>
            </a:pPr>
            <a:endParaRPr sz="1351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" name="Google Shape;41;p5"/>
          <p:cNvSpPr>
            <a:spLocks noGrp="1"/>
          </p:cNvSpPr>
          <p:nvPr>
            <p:ph type="pic" idx="2"/>
          </p:nvPr>
        </p:nvSpPr>
        <p:spPr>
          <a:xfrm>
            <a:off x="-3" y="-16149"/>
            <a:ext cx="12192000" cy="68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2" name="Google Shape;42;p5"/>
          <p:cNvSpPr>
            <a:spLocks noGrp="1"/>
          </p:cNvSpPr>
          <p:nvPr>
            <p:ph type="pic" idx="3"/>
          </p:nvPr>
        </p:nvSpPr>
        <p:spPr>
          <a:xfrm>
            <a:off x="13627645" y="-5142547"/>
            <a:ext cx="12192000" cy="68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3" name="Google Shape;43;p5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44" name="Google Shape;44;p5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45" name="Google Shape;45;p5"/>
          <p:cNvSpPr txBox="1">
            <a:spLocks noGrp="1"/>
          </p:cNvSpPr>
          <p:nvPr>
            <p:ph type="body" idx="1"/>
          </p:nvPr>
        </p:nvSpPr>
        <p:spPr>
          <a:xfrm>
            <a:off x="4285131" y="4652963"/>
            <a:ext cx="7140000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40639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46" name="Google Shape;46;p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285130" y="2979683"/>
            <a:ext cx="7164684" cy="1481067"/>
          </a:xfrm>
          <a:prstGeom prst="rect">
            <a:avLst/>
          </a:prstGeom>
          <a:noFill/>
          <a:ln>
            <a:noFill/>
          </a:ln>
        </p:spPr>
      </p:pic>
      <p:sp>
        <p:nvSpPr>
          <p:cNvPr id="47" name="Google Shape;47;p5"/>
          <p:cNvSpPr txBox="1"/>
          <p:nvPr/>
        </p:nvSpPr>
        <p:spPr>
          <a:xfrm>
            <a:off x="856223" y="813647"/>
            <a:ext cx="7324400" cy="11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5333F"/>
              </a:buClr>
              <a:buSzPts val="3600"/>
              <a:buFont typeface="Arial"/>
              <a:buNone/>
            </a:pPr>
            <a:r>
              <a:rPr lang="en-IN" sz="4800" b="0" i="0" u="none" strike="noStrike" cap="none" dirty="0">
                <a:solidFill>
                  <a:srgbClr val="F5333F"/>
                </a:solidFill>
                <a:latin typeface="Arial"/>
                <a:ea typeface="Arial"/>
                <a:cs typeface="Arial"/>
                <a:sym typeface="Arial"/>
              </a:rPr>
              <a:t>Click to add Title</a:t>
            </a:r>
            <a:endParaRPr sz="4800" b="0" i="0" u="none" strike="noStrike" cap="none" dirty="0">
              <a:solidFill>
                <a:srgbClr val="F5333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Google Shape;48;p5"/>
          <p:cNvSpPr/>
          <p:nvPr/>
        </p:nvSpPr>
        <p:spPr>
          <a:xfrm>
            <a:off x="15624793" y="4920411"/>
            <a:ext cx="1160" cy="1428"/>
          </a:xfrm>
          <a:custGeom>
            <a:avLst/>
            <a:gdLst/>
            <a:ahLst/>
            <a:cxnLst/>
            <a:rect l="l" t="t" r="r" b="b"/>
            <a:pathLst>
              <a:path w="870" h="1071" extrusionOk="0">
                <a:moveTo>
                  <a:pt x="0" y="0"/>
                </a:moveTo>
                <a:lnTo>
                  <a:pt x="870" y="0"/>
                </a:lnTo>
                <a:lnTo>
                  <a:pt x="870" y="10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24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04" userDrawn="1">
          <p15:clr>
            <a:srgbClr val="FBAE40"/>
          </p15:clr>
        </p15:guide>
        <p15:guide id="2" orient="horz" pos="3641" userDrawn="1">
          <p15:clr>
            <a:srgbClr val="FBAE40"/>
          </p15:clr>
        </p15:guide>
        <p15:guide id="3" orient="horz" pos="2931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A5EE43A-1504-4E3A-AA8E-7D3702FF37A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A11488D-D94F-4092-8967-F757298AFD4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5F8D70-38BF-42EE-85AE-3F9365A103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DA7A2-E748-4B52-AFA0-8AD8A4CE3636}" type="datetimeFigureOut">
              <a:rPr lang="en-IN" smtClean="0"/>
              <a:t>09-09-2020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4FFDF7-07DC-4F3A-B852-9426A8EE36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40D7FB-DFB9-4B8D-8CCE-36A0085FC4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DC336A-7820-4F2E-84B1-A710EA016BAA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923877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2 Line Title and Content">
  <p:cSld name="1_2 Line Title and Content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6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51" name="Google Shape;51;p6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52" name="Google Shape;52;p6"/>
          <p:cNvSpPr txBox="1">
            <a:spLocks noGrp="1"/>
          </p:cNvSpPr>
          <p:nvPr>
            <p:ph type="body" idx="1"/>
          </p:nvPr>
        </p:nvSpPr>
        <p:spPr>
          <a:xfrm>
            <a:off x="4404784" y="2421467"/>
            <a:ext cx="7020800" cy="34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" name="Google Shape;53;p6"/>
          <p:cNvSpPr/>
          <p:nvPr/>
        </p:nvSpPr>
        <p:spPr>
          <a:xfrm>
            <a:off x="0" y="0"/>
            <a:ext cx="12192000" cy="849200"/>
          </a:xfrm>
          <a:prstGeom prst="rect">
            <a:avLst/>
          </a:prstGeom>
          <a:solidFill>
            <a:srgbClr val="F5333F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13"/>
              <a:buFont typeface="Arial"/>
              <a:buNone/>
            </a:pPr>
            <a:endParaRPr sz="1351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" name="Google Shape;54;p6"/>
          <p:cNvSpPr txBox="1">
            <a:spLocks noGrp="1"/>
          </p:cNvSpPr>
          <p:nvPr>
            <p:ph type="title"/>
          </p:nvPr>
        </p:nvSpPr>
        <p:spPr>
          <a:xfrm>
            <a:off x="422239" y="162621"/>
            <a:ext cx="4981200" cy="5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5" name="Google Shape;55;p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72384" y="280085"/>
            <a:ext cx="1084840" cy="2896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orient="horz" pos="504" userDrawn="1">
          <p15:clr>
            <a:srgbClr val="FBAE40"/>
          </p15:clr>
        </p15:guide>
        <p15:guide id="3" orient="horz" pos="1231" userDrawn="1">
          <p15:clr>
            <a:srgbClr val="FBAE40"/>
          </p15:clr>
        </p15:guide>
        <p15:guide id="4" orient="horz" pos="3725" userDrawn="1">
          <p15:clr>
            <a:srgbClr val="FBAE40"/>
          </p15:clr>
        </p15:guide>
        <p15:guide id="5" pos="2775" userDrawn="1">
          <p15:clr>
            <a:srgbClr val="FBAE40"/>
          </p15:clr>
        </p15:guide>
        <p15:guide id="6" orient="horz" pos="1525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Divider">
  <p:cSld name="1_Divider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7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8" name="Google Shape;58;p7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59" name="Google Shape;59;p7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60" name="Google Shape;60;p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38200" y="728134"/>
            <a:ext cx="4346357" cy="5378653"/>
          </a:xfrm>
          <a:prstGeom prst="rect">
            <a:avLst/>
          </a:prstGeom>
          <a:noFill/>
          <a:ln>
            <a:noFill/>
          </a:ln>
        </p:spPr>
      </p:pic>
      <p:sp>
        <p:nvSpPr>
          <p:cNvPr id="61" name="Google Shape;61;p7"/>
          <p:cNvSpPr txBox="1"/>
          <p:nvPr/>
        </p:nvSpPr>
        <p:spPr>
          <a:xfrm>
            <a:off x="1295400" y="1680839"/>
            <a:ext cx="3404000" cy="21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IN" sz="1867" b="0" i="0" u="none" strike="noStrike" cap="none" dirty="0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rPr>
              <a:t>Edit Master text styles</a:t>
            </a:r>
            <a:endParaRPr sz="1867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2" name="Google Shape;62;p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38200" y="728134"/>
            <a:ext cx="4346357" cy="5378653"/>
          </a:xfrm>
          <a:prstGeom prst="rect">
            <a:avLst/>
          </a:prstGeom>
          <a:noFill/>
          <a:ln>
            <a:noFill/>
          </a:ln>
        </p:spPr>
      </p:pic>
      <p:sp>
        <p:nvSpPr>
          <p:cNvPr id="63" name="Google Shape;63;p7"/>
          <p:cNvSpPr txBox="1"/>
          <p:nvPr/>
        </p:nvSpPr>
        <p:spPr>
          <a:xfrm>
            <a:off x="1295400" y="1680839"/>
            <a:ext cx="3404000" cy="21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IN" sz="1867" b="0" i="0" u="none" strike="noStrike" cap="none" dirty="0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rPr>
              <a:t>Edit Master text styles</a:t>
            </a:r>
            <a:endParaRPr sz="1867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53" userDrawn="1">
          <p15:clr>
            <a:srgbClr val="FBAE40"/>
          </p15:clr>
        </p15:guide>
        <p15:guide id="2" pos="816" userDrawn="1">
          <p15:clr>
            <a:srgbClr val="FBAE40"/>
          </p15:clr>
        </p15:guide>
        <p15:guide id="3" pos="2963" userDrawn="1">
          <p15:clr>
            <a:srgbClr val="FBAE40"/>
          </p15:clr>
        </p15:guide>
        <p15:guide id="4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3 picture with caption">
  <p:cSld name="Title and 3 picture with caption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8"/>
          <p:cNvSpPr/>
          <p:nvPr/>
        </p:nvSpPr>
        <p:spPr>
          <a:xfrm>
            <a:off x="0" y="0"/>
            <a:ext cx="12192000" cy="4041600"/>
          </a:xfrm>
          <a:prstGeom prst="rect">
            <a:avLst/>
          </a:prstGeom>
          <a:solidFill>
            <a:srgbClr val="F5333F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13"/>
              <a:buFont typeface="Arial"/>
              <a:buNone/>
            </a:pPr>
            <a:endParaRPr sz="1351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" name="Google Shape;66;p8"/>
          <p:cNvSpPr/>
          <p:nvPr/>
        </p:nvSpPr>
        <p:spPr>
          <a:xfrm>
            <a:off x="0" y="0"/>
            <a:ext cx="12192000" cy="4041600"/>
          </a:xfrm>
          <a:prstGeom prst="rect">
            <a:avLst/>
          </a:prstGeom>
          <a:solidFill>
            <a:srgbClr val="F5333F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13"/>
              <a:buFont typeface="Arial"/>
              <a:buNone/>
            </a:pPr>
            <a:endParaRPr sz="1351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" name="Google Shape;67;p8"/>
          <p:cNvSpPr txBox="1">
            <a:spLocks noGrp="1"/>
          </p:cNvSpPr>
          <p:nvPr>
            <p:ph type="title"/>
          </p:nvPr>
        </p:nvSpPr>
        <p:spPr>
          <a:xfrm>
            <a:off x="839788" y="800100"/>
            <a:ext cx="4981200" cy="5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4800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8"/>
          <p:cNvSpPr>
            <a:spLocks noGrp="1"/>
          </p:cNvSpPr>
          <p:nvPr>
            <p:ph type="pic" idx="2"/>
          </p:nvPr>
        </p:nvSpPr>
        <p:spPr>
          <a:xfrm>
            <a:off x="1927151" y="1843024"/>
            <a:ext cx="2224000" cy="2595600"/>
          </a:xfrm>
          <a:prstGeom prst="rect">
            <a:avLst/>
          </a:prstGeom>
          <a:noFill/>
          <a:ln>
            <a:noFill/>
          </a:ln>
          <a:effectLst>
            <a:outerShdw blurRad="50800" dist="38100" dir="10800000" algn="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9" name="Google Shape;69;p8"/>
          <p:cNvSpPr>
            <a:spLocks noGrp="1"/>
          </p:cNvSpPr>
          <p:nvPr>
            <p:ph type="pic" idx="3"/>
          </p:nvPr>
        </p:nvSpPr>
        <p:spPr>
          <a:xfrm>
            <a:off x="4993312" y="1843024"/>
            <a:ext cx="2205200" cy="2595600"/>
          </a:xfrm>
          <a:prstGeom prst="rect">
            <a:avLst/>
          </a:prstGeom>
          <a:noFill/>
          <a:ln>
            <a:noFill/>
          </a:ln>
          <a:effectLst>
            <a:outerShdw blurRad="50800" dist="38100" dir="10800000" algn="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70" name="Google Shape;70;p8"/>
          <p:cNvSpPr>
            <a:spLocks noGrp="1"/>
          </p:cNvSpPr>
          <p:nvPr>
            <p:ph type="pic" idx="4"/>
          </p:nvPr>
        </p:nvSpPr>
        <p:spPr>
          <a:xfrm>
            <a:off x="8073924" y="1843024"/>
            <a:ext cx="2205200" cy="2595600"/>
          </a:xfrm>
          <a:prstGeom prst="rect">
            <a:avLst/>
          </a:prstGeom>
          <a:noFill/>
          <a:ln>
            <a:noFill/>
          </a:ln>
          <a:effectLst>
            <a:outerShdw blurRad="50800" dist="38100" dir="10800000" algn="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71" name="Google Shape;71;p8"/>
          <p:cNvSpPr txBox="1">
            <a:spLocks noGrp="1"/>
          </p:cNvSpPr>
          <p:nvPr>
            <p:ph type="body" idx="1"/>
          </p:nvPr>
        </p:nvSpPr>
        <p:spPr>
          <a:xfrm>
            <a:off x="1919288" y="4692299"/>
            <a:ext cx="2232000" cy="3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0000"/>
              </a:buClr>
              <a:buSzPts val="1215"/>
              <a:buFont typeface="Arial"/>
              <a:buNone/>
              <a:defRPr sz="1620" b="1" i="0" u="none" strike="noStrike" cap="none">
                <a:solidFill>
                  <a:srgbClr val="FF0000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" name="Google Shape;72;p8"/>
          <p:cNvSpPr txBox="1">
            <a:spLocks noGrp="1"/>
          </p:cNvSpPr>
          <p:nvPr>
            <p:ph type="body" idx="5"/>
          </p:nvPr>
        </p:nvSpPr>
        <p:spPr>
          <a:xfrm>
            <a:off x="4993313" y="4692299"/>
            <a:ext cx="2205200" cy="3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0000"/>
              </a:buClr>
              <a:buSzPts val="1215"/>
              <a:buFont typeface="Arial"/>
              <a:buNone/>
              <a:defRPr sz="1620" b="1" i="0" u="none" strike="noStrike" cap="none">
                <a:solidFill>
                  <a:srgbClr val="FF0000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" name="Google Shape;73;p8"/>
          <p:cNvSpPr txBox="1">
            <a:spLocks noGrp="1"/>
          </p:cNvSpPr>
          <p:nvPr>
            <p:ph type="body" idx="6"/>
          </p:nvPr>
        </p:nvSpPr>
        <p:spPr>
          <a:xfrm>
            <a:off x="8067337" y="4692297"/>
            <a:ext cx="2205200" cy="37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0000"/>
              </a:buClr>
              <a:buSzPts val="1215"/>
              <a:buFont typeface="Arial"/>
              <a:buNone/>
              <a:defRPr sz="1620" b="1" i="0" u="none" strike="noStrike" cap="none">
                <a:solidFill>
                  <a:srgbClr val="FF0000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" name="Google Shape;74;p8"/>
          <p:cNvSpPr txBox="1">
            <a:spLocks noGrp="1"/>
          </p:cNvSpPr>
          <p:nvPr>
            <p:ph type="body" idx="7"/>
          </p:nvPr>
        </p:nvSpPr>
        <p:spPr>
          <a:xfrm>
            <a:off x="1919817" y="5150027"/>
            <a:ext cx="2232000" cy="89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40"/>
              <a:buFont typeface="Arial"/>
              <a:buNone/>
              <a:defRPr sz="1252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" name="Google Shape;75;p8"/>
          <p:cNvSpPr txBox="1">
            <a:spLocks noGrp="1"/>
          </p:cNvSpPr>
          <p:nvPr>
            <p:ph type="body" idx="8"/>
          </p:nvPr>
        </p:nvSpPr>
        <p:spPr>
          <a:xfrm>
            <a:off x="4980517" y="5150027"/>
            <a:ext cx="2232000" cy="89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40"/>
              <a:buFont typeface="Arial"/>
              <a:buNone/>
              <a:defRPr sz="1252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" name="Google Shape;76;p8"/>
          <p:cNvSpPr txBox="1">
            <a:spLocks noGrp="1"/>
          </p:cNvSpPr>
          <p:nvPr>
            <p:ph type="body" idx="9"/>
          </p:nvPr>
        </p:nvSpPr>
        <p:spPr>
          <a:xfrm>
            <a:off x="8067336" y="5150027"/>
            <a:ext cx="2212000" cy="89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40"/>
              <a:buFont typeface="Arial"/>
              <a:buNone/>
              <a:defRPr sz="1252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7" name="Google Shape;77;p8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78" name="Google Shape;78;p8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79" name="Google Shape;79;p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72384" y="280085"/>
            <a:ext cx="1084840" cy="2896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47" userDrawn="1">
          <p15:clr>
            <a:srgbClr val="FBAE40"/>
          </p15:clr>
        </p15:guide>
        <p15:guide id="2" orient="horz" pos="3188" userDrawn="1">
          <p15:clr>
            <a:srgbClr val="FBAE40"/>
          </p15:clr>
        </p15:guide>
        <p15:guide id="3" orient="horz" pos="2795" userDrawn="1">
          <p15:clr>
            <a:srgbClr val="FBAE40"/>
          </p15:clr>
        </p15:guide>
        <p15:guide id="4" orient="horz" pos="504" userDrawn="1">
          <p15:clr>
            <a:srgbClr val="FBAE40"/>
          </p15:clr>
        </p15:guide>
        <p15:guide id="5" pos="1209" userDrawn="1">
          <p15:clr>
            <a:srgbClr val="FBAE40"/>
          </p15:clr>
        </p15:guide>
        <p15:guide id="6" orient="horz" pos="1163" userDrawn="1">
          <p15:clr>
            <a:srgbClr val="FBAE40"/>
          </p15:clr>
        </p15:guide>
        <p15:guide id="7" pos="2615" userDrawn="1">
          <p15:clr>
            <a:srgbClr val="FBAE40"/>
          </p15:clr>
        </p15:guide>
        <p15:guide id="8" pos="3137" userDrawn="1">
          <p15:clr>
            <a:srgbClr val="FBAE40"/>
          </p15:clr>
        </p15:guide>
        <p15:guide id="9" pos="4543" userDrawn="1">
          <p15:clr>
            <a:srgbClr val="FBAE40"/>
          </p15:clr>
        </p15:guide>
        <p15:guide id="10" pos="5080" userDrawn="1">
          <p15:clr>
            <a:srgbClr val="FBAE40"/>
          </p15:clr>
        </p15:guide>
        <p15:guide id="11" pos="647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2 pictures">
  <p:cSld name="Title and 2 pictures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9"/>
          <p:cNvSpPr/>
          <p:nvPr/>
        </p:nvSpPr>
        <p:spPr>
          <a:xfrm>
            <a:off x="0" y="0"/>
            <a:ext cx="12192000" cy="4041600"/>
          </a:xfrm>
          <a:prstGeom prst="rect">
            <a:avLst/>
          </a:prstGeom>
          <a:solidFill>
            <a:srgbClr val="F5333F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13"/>
              <a:buFont typeface="Arial"/>
              <a:buNone/>
            </a:pPr>
            <a:endParaRPr sz="1351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" name="Google Shape;82;p9"/>
          <p:cNvSpPr txBox="1">
            <a:spLocks noGrp="1"/>
          </p:cNvSpPr>
          <p:nvPr>
            <p:ph type="title"/>
          </p:nvPr>
        </p:nvSpPr>
        <p:spPr>
          <a:xfrm>
            <a:off x="856631" y="728664"/>
            <a:ext cx="7870400" cy="7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4800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9"/>
          <p:cNvSpPr/>
          <p:nvPr/>
        </p:nvSpPr>
        <p:spPr>
          <a:xfrm>
            <a:off x="6133239" y="2493648"/>
            <a:ext cx="5229200" cy="3096000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13"/>
              <a:buFont typeface="Arial"/>
              <a:buNone/>
            </a:pPr>
            <a:endParaRPr sz="1351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" name="Google Shape;84;p9"/>
          <p:cNvSpPr>
            <a:spLocks noGrp="1"/>
          </p:cNvSpPr>
          <p:nvPr>
            <p:ph type="pic" idx="2"/>
          </p:nvPr>
        </p:nvSpPr>
        <p:spPr>
          <a:xfrm>
            <a:off x="6133239" y="2490789"/>
            <a:ext cx="5229200" cy="31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5" name="Google Shape;85;p9"/>
          <p:cNvSpPr>
            <a:spLocks noGrp="1"/>
          </p:cNvSpPr>
          <p:nvPr>
            <p:ph type="pic" idx="3"/>
          </p:nvPr>
        </p:nvSpPr>
        <p:spPr>
          <a:xfrm>
            <a:off x="829131" y="2490788"/>
            <a:ext cx="3456000" cy="10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6" name="Google Shape;86;p9"/>
          <p:cNvSpPr txBox="1">
            <a:spLocks noGrp="1"/>
          </p:cNvSpPr>
          <p:nvPr>
            <p:ph type="body" idx="1"/>
          </p:nvPr>
        </p:nvSpPr>
        <p:spPr>
          <a:xfrm>
            <a:off x="839788" y="4194176"/>
            <a:ext cx="4457600" cy="37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15"/>
              <a:buFont typeface="Arial"/>
              <a:buNone/>
              <a:defRPr sz="1620" b="1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7" name="Google Shape;87;p9"/>
          <p:cNvSpPr txBox="1">
            <a:spLocks noGrp="1"/>
          </p:cNvSpPr>
          <p:nvPr>
            <p:ph type="body" idx="4"/>
          </p:nvPr>
        </p:nvSpPr>
        <p:spPr>
          <a:xfrm>
            <a:off x="846667" y="4687488"/>
            <a:ext cx="4457600" cy="37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310"/>
              <a:buFont typeface="Arial"/>
              <a:buNone/>
              <a:defRPr sz="1747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8" name="Google Shape;88;p9"/>
          <p:cNvSpPr txBox="1">
            <a:spLocks noGrp="1"/>
          </p:cNvSpPr>
          <p:nvPr>
            <p:ph type="dt" idx="10"/>
          </p:nvPr>
        </p:nvSpPr>
        <p:spPr>
          <a:xfrm>
            <a:off x="856631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89" name="Google Shape;89;p9"/>
          <p:cNvSpPr txBox="1">
            <a:spLocks noGrp="1"/>
          </p:cNvSpPr>
          <p:nvPr>
            <p:ph type="sldNum" idx="12"/>
          </p:nvPr>
        </p:nvSpPr>
        <p:spPr>
          <a:xfrm>
            <a:off x="8621389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90" name="Google Shape;90;p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49227" y="404813"/>
            <a:ext cx="1213040" cy="323851"/>
          </a:xfrm>
          <a:prstGeom prst="rect">
            <a:avLst/>
          </a:prstGeom>
          <a:noFill/>
          <a:ln>
            <a:noFill/>
          </a:ln>
        </p:spPr>
      </p:pic>
      <p:sp>
        <p:nvSpPr>
          <p:cNvPr id="91" name="Google Shape;91;p9"/>
          <p:cNvSpPr/>
          <p:nvPr/>
        </p:nvSpPr>
        <p:spPr>
          <a:xfrm>
            <a:off x="0" y="0"/>
            <a:ext cx="12192000" cy="4041600"/>
          </a:xfrm>
          <a:prstGeom prst="rect">
            <a:avLst/>
          </a:prstGeom>
          <a:solidFill>
            <a:srgbClr val="F5333F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13"/>
              <a:buFont typeface="Arial"/>
              <a:buNone/>
            </a:pPr>
            <a:endParaRPr sz="1351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" name="Google Shape;92;p9"/>
          <p:cNvSpPr/>
          <p:nvPr/>
        </p:nvSpPr>
        <p:spPr>
          <a:xfrm>
            <a:off x="6133239" y="2493648"/>
            <a:ext cx="5292000" cy="3096000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13"/>
              <a:buFont typeface="Arial"/>
              <a:buNone/>
            </a:pPr>
            <a:endParaRPr sz="1351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3" name="Google Shape;93;p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72384" y="280085"/>
            <a:ext cx="1084840" cy="2896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04" userDrawn="1">
          <p15:clr>
            <a:srgbClr val="FBAE40"/>
          </p15:clr>
        </p15:guide>
        <p15:guide id="2" orient="horz" pos="1571" userDrawn="1">
          <p15:clr>
            <a:srgbClr val="FBAE40"/>
          </p15:clr>
        </p15:guide>
        <p15:guide id="3" orient="horz" pos="2228" userDrawn="1">
          <p15:clr>
            <a:srgbClr val="FBAE40"/>
          </p15:clr>
        </p15:guide>
        <p15:guide id="4" orient="horz" pos="2636" userDrawn="1">
          <p15:clr>
            <a:srgbClr val="FBAE40"/>
          </p15:clr>
        </p15:guide>
        <p15:guide id="5" orient="horz" pos="3907" userDrawn="1">
          <p15:clr>
            <a:srgbClr val="FBAE40"/>
          </p15:clr>
        </p15:guide>
        <p15:guide id="6" orient="horz" pos="3521" userDrawn="1">
          <p15:clr>
            <a:srgbClr val="FBAE40"/>
          </p15:clr>
        </p15:guide>
        <p15:guide id="7" pos="386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Icons and Content">
  <p:cSld name="Title, Icons and Content"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5" name="Google Shape;95;p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57160" y="1318468"/>
            <a:ext cx="536449" cy="536449"/>
          </a:xfrm>
          <a:prstGeom prst="rect">
            <a:avLst/>
          </a:prstGeom>
          <a:noFill/>
          <a:ln>
            <a:noFill/>
          </a:ln>
        </p:spPr>
      </p:pic>
      <p:pic>
        <p:nvPicPr>
          <p:cNvPr id="96" name="Google Shape;96;p1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57160" y="1958721"/>
            <a:ext cx="536449" cy="536449"/>
          </a:xfrm>
          <a:prstGeom prst="rect">
            <a:avLst/>
          </a:prstGeom>
          <a:noFill/>
          <a:ln>
            <a:noFill/>
          </a:ln>
        </p:spPr>
      </p:pic>
      <p:pic>
        <p:nvPicPr>
          <p:cNvPr id="97" name="Google Shape;97;p1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57160" y="2598433"/>
            <a:ext cx="536449" cy="53340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" name="Google Shape;98;p10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57160" y="3236224"/>
            <a:ext cx="536449" cy="536449"/>
          </a:xfrm>
          <a:prstGeom prst="rect">
            <a:avLst/>
          </a:prstGeom>
          <a:noFill/>
          <a:ln>
            <a:noFill/>
          </a:ln>
        </p:spPr>
      </p:pic>
      <p:pic>
        <p:nvPicPr>
          <p:cNvPr id="99" name="Google Shape;99;p10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57158" y="3877064"/>
            <a:ext cx="536449" cy="536449"/>
          </a:xfrm>
          <a:prstGeom prst="rect">
            <a:avLst/>
          </a:prstGeom>
          <a:noFill/>
          <a:ln>
            <a:noFill/>
          </a:ln>
        </p:spPr>
      </p:pic>
      <p:sp>
        <p:nvSpPr>
          <p:cNvPr id="100" name="Google Shape;100;p10"/>
          <p:cNvSpPr txBox="1">
            <a:spLocks noGrp="1"/>
          </p:cNvSpPr>
          <p:nvPr>
            <p:ph type="body" idx="1"/>
          </p:nvPr>
        </p:nvSpPr>
        <p:spPr>
          <a:xfrm>
            <a:off x="1170991" y="2096675"/>
            <a:ext cx="3295600" cy="2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1" name="Google Shape;101;p10"/>
          <p:cNvSpPr txBox="1">
            <a:spLocks noGrp="1"/>
          </p:cNvSpPr>
          <p:nvPr>
            <p:ph type="body" idx="2"/>
          </p:nvPr>
        </p:nvSpPr>
        <p:spPr>
          <a:xfrm>
            <a:off x="1170991" y="1450853"/>
            <a:ext cx="3295600" cy="2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2" name="Google Shape;102;p10"/>
          <p:cNvSpPr txBox="1">
            <a:spLocks noGrp="1"/>
          </p:cNvSpPr>
          <p:nvPr>
            <p:ph type="body" idx="3"/>
          </p:nvPr>
        </p:nvSpPr>
        <p:spPr>
          <a:xfrm>
            <a:off x="1170991" y="2729295"/>
            <a:ext cx="3295600" cy="2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3" name="Google Shape;103;p10"/>
          <p:cNvSpPr txBox="1">
            <a:spLocks noGrp="1"/>
          </p:cNvSpPr>
          <p:nvPr>
            <p:ph type="body" idx="4"/>
          </p:nvPr>
        </p:nvSpPr>
        <p:spPr>
          <a:xfrm>
            <a:off x="1170991" y="3371939"/>
            <a:ext cx="3295600" cy="2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4" name="Google Shape;104;p10"/>
          <p:cNvSpPr txBox="1">
            <a:spLocks noGrp="1"/>
          </p:cNvSpPr>
          <p:nvPr>
            <p:ph type="body" idx="5"/>
          </p:nvPr>
        </p:nvSpPr>
        <p:spPr>
          <a:xfrm>
            <a:off x="1170991" y="4007192"/>
            <a:ext cx="3295600" cy="2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5" name="Google Shape;105;p10"/>
          <p:cNvSpPr txBox="1">
            <a:spLocks noGrp="1"/>
          </p:cNvSpPr>
          <p:nvPr>
            <p:ph type="body" idx="6"/>
          </p:nvPr>
        </p:nvSpPr>
        <p:spPr>
          <a:xfrm>
            <a:off x="5812648" y="2096676"/>
            <a:ext cx="3218000" cy="30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6" name="Google Shape;106;p10"/>
          <p:cNvSpPr txBox="1">
            <a:spLocks noGrp="1"/>
          </p:cNvSpPr>
          <p:nvPr>
            <p:ph type="body" idx="7"/>
          </p:nvPr>
        </p:nvSpPr>
        <p:spPr>
          <a:xfrm>
            <a:off x="5812648" y="1450853"/>
            <a:ext cx="3218000" cy="3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7" name="Google Shape;107;p10"/>
          <p:cNvSpPr txBox="1">
            <a:spLocks noGrp="1"/>
          </p:cNvSpPr>
          <p:nvPr>
            <p:ph type="body" idx="8"/>
          </p:nvPr>
        </p:nvSpPr>
        <p:spPr>
          <a:xfrm>
            <a:off x="5812648" y="2729295"/>
            <a:ext cx="3218000" cy="2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8" name="Google Shape;108;p10"/>
          <p:cNvSpPr txBox="1">
            <a:spLocks noGrp="1"/>
          </p:cNvSpPr>
          <p:nvPr>
            <p:ph type="body" idx="9"/>
          </p:nvPr>
        </p:nvSpPr>
        <p:spPr>
          <a:xfrm>
            <a:off x="5812648" y="3371939"/>
            <a:ext cx="3218000" cy="2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9" name="Google Shape;109;p10"/>
          <p:cNvSpPr txBox="1">
            <a:spLocks noGrp="1"/>
          </p:cNvSpPr>
          <p:nvPr>
            <p:ph type="body" idx="13"/>
          </p:nvPr>
        </p:nvSpPr>
        <p:spPr>
          <a:xfrm>
            <a:off x="5812648" y="4007192"/>
            <a:ext cx="3218000" cy="2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1909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0" name="Google Shape;110;p10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111" name="Google Shape;111;p10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112" name="Google Shape;112;p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0570" y="1329648"/>
            <a:ext cx="536449" cy="536449"/>
          </a:xfrm>
          <a:prstGeom prst="rect">
            <a:avLst/>
          </a:prstGeom>
          <a:noFill/>
          <a:ln>
            <a:noFill/>
          </a:ln>
        </p:spPr>
      </p:pic>
      <p:pic>
        <p:nvPicPr>
          <p:cNvPr id="113" name="Google Shape;113;p1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60570" y="1969901"/>
            <a:ext cx="536449" cy="536449"/>
          </a:xfrm>
          <a:prstGeom prst="rect">
            <a:avLst/>
          </a:prstGeom>
          <a:noFill/>
          <a:ln>
            <a:noFill/>
          </a:ln>
        </p:spPr>
      </p:pic>
      <p:pic>
        <p:nvPicPr>
          <p:cNvPr id="114" name="Google Shape;114;p1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60570" y="2609613"/>
            <a:ext cx="536449" cy="5334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15" name="Google Shape;115;p10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60570" y="3247404"/>
            <a:ext cx="536449" cy="536449"/>
          </a:xfrm>
          <a:prstGeom prst="rect">
            <a:avLst/>
          </a:prstGeom>
          <a:noFill/>
          <a:ln>
            <a:noFill/>
          </a:ln>
        </p:spPr>
      </p:pic>
      <p:pic>
        <p:nvPicPr>
          <p:cNvPr id="116" name="Google Shape;116;p10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60569" y="3888244"/>
            <a:ext cx="536449" cy="536449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" name="Google Shape;117;p10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5165541" y="1329648"/>
            <a:ext cx="536449" cy="536449"/>
          </a:xfrm>
          <a:prstGeom prst="rect">
            <a:avLst/>
          </a:prstGeom>
          <a:noFill/>
          <a:ln>
            <a:noFill/>
          </a:ln>
        </p:spPr>
      </p:pic>
      <p:pic>
        <p:nvPicPr>
          <p:cNvPr id="118" name="Google Shape;118;p10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5165540" y="1969901"/>
            <a:ext cx="536449" cy="536449"/>
          </a:xfrm>
          <a:prstGeom prst="rect">
            <a:avLst/>
          </a:prstGeom>
          <a:noFill/>
          <a:ln>
            <a:noFill/>
          </a:ln>
        </p:spPr>
      </p:pic>
      <p:pic>
        <p:nvPicPr>
          <p:cNvPr id="119" name="Google Shape;119;p10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5165538" y="2609613"/>
            <a:ext cx="536449" cy="5334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0" name="Google Shape;120;p10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5165538" y="3246276"/>
            <a:ext cx="536449" cy="536449"/>
          </a:xfrm>
          <a:prstGeom prst="rect">
            <a:avLst/>
          </a:prstGeom>
          <a:noFill/>
          <a:ln>
            <a:noFill/>
          </a:ln>
        </p:spPr>
      </p:pic>
      <p:pic>
        <p:nvPicPr>
          <p:cNvPr id="121" name="Google Shape;121;p10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5165538" y="3885986"/>
            <a:ext cx="536449" cy="536449"/>
          </a:xfrm>
          <a:prstGeom prst="rect">
            <a:avLst/>
          </a:prstGeom>
          <a:noFill/>
          <a:ln>
            <a:noFill/>
          </a:ln>
        </p:spPr>
      </p:pic>
      <p:sp>
        <p:nvSpPr>
          <p:cNvPr id="122" name="Google Shape;122;p10"/>
          <p:cNvSpPr/>
          <p:nvPr/>
        </p:nvSpPr>
        <p:spPr>
          <a:xfrm>
            <a:off x="0" y="0"/>
            <a:ext cx="12192000" cy="849200"/>
          </a:xfrm>
          <a:prstGeom prst="rect">
            <a:avLst/>
          </a:prstGeom>
          <a:solidFill>
            <a:srgbClr val="F5333F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13"/>
              <a:buFont typeface="Arial"/>
              <a:buNone/>
            </a:pPr>
            <a:endParaRPr sz="1351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" name="Google Shape;123;p10"/>
          <p:cNvSpPr txBox="1">
            <a:spLocks noGrp="1"/>
          </p:cNvSpPr>
          <p:nvPr>
            <p:ph type="title"/>
          </p:nvPr>
        </p:nvSpPr>
        <p:spPr>
          <a:xfrm>
            <a:off x="422239" y="162621"/>
            <a:ext cx="4981200" cy="5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4" name="Google Shape;124;p10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10572384" y="280085"/>
            <a:ext cx="1084840" cy="2896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171" userDrawn="1">
          <p15:clr>
            <a:srgbClr val="FBAE40"/>
          </p15:clr>
        </p15:guide>
        <p15:guide id="2" pos="529" userDrawn="1">
          <p15:clr>
            <a:srgbClr val="FBAE40"/>
          </p15:clr>
        </p15:guide>
        <p15:guide id="3" orient="horz" pos="504" userDrawn="1">
          <p15:clr>
            <a:srgbClr val="FBAE40"/>
          </p15:clr>
        </p15:guide>
        <p15:guide id="4" orient="horz" pos="1231" userDrawn="1">
          <p15:clr>
            <a:srgbClr val="FBAE40"/>
          </p15:clr>
        </p15:guide>
        <p15:guide id="5" pos="2184" userDrawn="1">
          <p15:clr>
            <a:srgbClr val="FBAE40"/>
          </p15:clr>
        </p15:guide>
        <p15:guide id="6" pos="4771" userDrawn="1">
          <p15:clr>
            <a:srgbClr val="FBAE40"/>
          </p15:clr>
        </p15:guide>
        <p15:guide id="7" orient="horz" pos="1857" userDrawn="1">
          <p15:clr>
            <a:srgbClr val="FBAE40"/>
          </p15:clr>
        </p15:guide>
        <p15:guide id="8" pos="2503" userDrawn="1">
          <p15:clr>
            <a:srgbClr val="FBAE40"/>
          </p15:clr>
        </p15:guide>
        <p15:guide id="9" pos="2571" userDrawn="1">
          <p15:clr>
            <a:srgbClr val="FBAE40"/>
          </p15:clr>
        </p15:guide>
        <p15:guide id="10" pos="511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3.xml"/><Relationship Id="rId17" Type="http://schemas.openxmlformats.org/officeDocument/2006/relationships/image" Target="../media/image34.emf"/><Relationship Id="rId2" Type="http://schemas.openxmlformats.org/officeDocument/2006/relationships/slideLayout" Target="../slideLayouts/slideLayout31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840317" y="725997"/>
            <a:ext cx="8262400" cy="7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2" name="Google Shape;12;p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13" name="Google Shape;13;p1"/>
          <p:cNvPicPr preferRelativeResize="0"/>
          <p:nvPr/>
        </p:nvPicPr>
        <p:blipFill rotWithShape="1">
          <a:blip r:embed="rId20">
            <a:alphaModFix/>
          </a:blip>
          <a:srcRect/>
          <a:stretch/>
        </p:blipFill>
        <p:spPr>
          <a:xfrm>
            <a:off x="10573016" y="279313"/>
            <a:ext cx="1085395" cy="289625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7197" userDrawn="1">
          <p15:clr>
            <a:srgbClr val="F26B43"/>
          </p15:clr>
        </p15:guide>
        <p15:guide id="2" orient="horz" pos="255" userDrawn="1">
          <p15:clr>
            <a:srgbClr val="F26B43"/>
          </p15:clr>
        </p15:guide>
        <p15:guide id="3" orient="horz" pos="459" userDrawn="1">
          <p15:clr>
            <a:srgbClr val="F26B43"/>
          </p15:clr>
        </p15:guide>
        <p15:guide id="4" pos="52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p2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Lato"/>
              <a:buNone/>
              <a:defRPr sz="33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40" name="Google Shape;340;p2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marR="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1" name="Google Shape;341;p21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342" name="Google Shape;342;p21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343" name="Google Shape;343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41430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16" imgW="421" imgH="423" progId="TCLayout.ActiveDocument.1">
                  <p:embed/>
                </p:oleObj>
              </mc:Choice>
              <mc:Fallback>
                <p:oleObj name="think-cell Slide" r:id="rId16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DEA5FCA-2EBB-40B5-B300-413DC21DD9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1E178B-9B36-43F6-9E03-0DF3C41B68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A870E-CA77-45FF-AA2F-1E08772C37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3DA7A2-E748-4B52-AFA0-8AD8A4CE3636}" type="datetimeFigureOut">
              <a:rPr lang="en-IN" smtClean="0"/>
              <a:t>09-09-2020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B9F6C-2D17-484E-8787-701A5DE9C7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296E2A-72A3-488A-8E51-94979FD5FA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DC336A-7820-4F2E-84B1-A710EA016BAA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297851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6.svg"/><Relationship Id="rId5" Type="http://schemas.openxmlformats.org/officeDocument/2006/relationships/image" Target="../media/image45.png"/><Relationship Id="rId4" Type="http://schemas.openxmlformats.org/officeDocument/2006/relationships/image" Target="../media/image44.sv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image" Target="../media/image43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6.svg"/><Relationship Id="rId5" Type="http://schemas.openxmlformats.org/officeDocument/2006/relationships/image" Target="../media/image45.png"/><Relationship Id="rId4" Type="http://schemas.openxmlformats.org/officeDocument/2006/relationships/image" Target="../media/image47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6.svg"/><Relationship Id="rId5" Type="http://schemas.openxmlformats.org/officeDocument/2006/relationships/image" Target="../media/image45.png"/><Relationship Id="rId4" Type="http://schemas.openxmlformats.org/officeDocument/2006/relationships/image" Target="../media/image44.sv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image" Target="../media/image43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6.svg"/><Relationship Id="rId5" Type="http://schemas.openxmlformats.org/officeDocument/2006/relationships/image" Target="../media/image45.png"/><Relationship Id="rId4" Type="http://schemas.openxmlformats.org/officeDocument/2006/relationships/image" Target="../media/image44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9.svg"/><Relationship Id="rId5" Type="http://schemas.openxmlformats.org/officeDocument/2006/relationships/image" Target="../media/image48.png"/><Relationship Id="rId4" Type="http://schemas.openxmlformats.org/officeDocument/2006/relationships/image" Target="../media/image44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7" name="Google Shape;417;p3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109828" y="0"/>
            <a:ext cx="1808721" cy="2103309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211;p37">
            <a:extLst>
              <a:ext uri="{FF2B5EF4-FFF2-40B4-BE49-F238E27FC236}">
                <a16:creationId xmlns:a16="http://schemas.microsoft.com/office/drawing/2014/main" id="{8616A248-B579-497D-A389-DA90B2C211F5}"/>
              </a:ext>
            </a:extLst>
          </p:cNvPr>
          <p:cNvSpPr txBox="1"/>
          <p:nvPr/>
        </p:nvSpPr>
        <p:spPr>
          <a:xfrm>
            <a:off x="415599" y="2644188"/>
            <a:ext cx="11360802" cy="15696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91423" tIns="91423" rIns="91423" bIns="91423" anchor="ctr">
            <a:spAutoFit/>
          </a:bodyPr>
          <a:lstStyle>
            <a:lvl1pPr algn="ctr">
              <a:defRPr sz="4500">
                <a:solidFill>
                  <a:srgbClr val="F4AB35"/>
                </a:solidFill>
                <a:latin typeface="Lato Regular"/>
                <a:ea typeface="Lato Regular"/>
                <a:cs typeface="Lato Regular"/>
                <a:sym typeface="Lato Regular"/>
              </a:defRPr>
            </a:lvl1pPr>
          </a:lstStyle>
          <a:p>
            <a:pPr lvl="0" hangingPunct="0">
              <a:buClrTx/>
            </a:pPr>
            <a:r>
              <a:rPr lang="en-US" dirty="0"/>
              <a:t>Optimising Spark for</a:t>
            </a:r>
            <a:br>
              <a:rPr lang="en-US" dirty="0"/>
            </a:br>
            <a:r>
              <a:rPr lang="en-US" dirty="0"/>
              <a:t>Large-Scale Data Processing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Heading">
            <a:extLst>
              <a:ext uri="{FF2B5EF4-FFF2-40B4-BE49-F238E27FC236}">
                <a16:creationId xmlns:a16="http://schemas.microsoft.com/office/drawing/2014/main" id="{205E3731-66E5-4483-8245-731F910516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DE OPTIMISATION</a:t>
            </a:r>
          </a:p>
        </p:txBody>
      </p:sp>
      <p:grpSp>
        <p:nvGrpSpPr>
          <p:cNvPr id="13" name="Blue Point">
            <a:extLst>
              <a:ext uri="{FF2B5EF4-FFF2-40B4-BE49-F238E27FC236}">
                <a16:creationId xmlns:a16="http://schemas.microsoft.com/office/drawing/2014/main" id="{0E45D5B8-8327-44CE-850A-D825D3EC3BBC}"/>
              </a:ext>
            </a:extLst>
          </p:cNvPr>
          <p:cNvGrpSpPr/>
          <p:nvPr/>
        </p:nvGrpSpPr>
        <p:grpSpPr>
          <a:xfrm>
            <a:off x="2640563" y="3595294"/>
            <a:ext cx="6910875" cy="1134002"/>
            <a:chOff x="6389225" y="1006997"/>
            <a:chExt cx="4726281" cy="775533"/>
          </a:xfrm>
        </p:grpSpPr>
        <p:sp>
          <p:nvSpPr>
            <p:cNvPr id="14" name="Rectangle: Rounded Corners 8">
              <a:extLst>
                <a:ext uri="{FF2B5EF4-FFF2-40B4-BE49-F238E27FC236}">
                  <a16:creationId xmlns:a16="http://schemas.microsoft.com/office/drawing/2014/main" id="{70A33C39-4B6C-404B-BBF4-129C6EEF6DA2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8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104464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44233 w 4726281"/>
                <a:gd name="connsiteY1" fmla="*/ 3057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12270" y="3057"/>
                    <a:pt x="244233" y="3057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4890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Rectangle: Rounded Corners 8">
              <a:extLst>
                <a:ext uri="{FF2B5EF4-FFF2-40B4-BE49-F238E27FC236}">
                  <a16:creationId xmlns:a16="http://schemas.microsoft.com/office/drawing/2014/main" id="{A8283229-1E62-4BA7-A7D6-C0ADDDFE04AD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5101C3C-266A-43B0-AA1A-B9FC7A0F656D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2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7" name="Yellow Q">
              <a:extLst>
                <a:ext uri="{FF2B5EF4-FFF2-40B4-BE49-F238E27FC236}">
                  <a16:creationId xmlns:a16="http://schemas.microsoft.com/office/drawing/2014/main" id="{180EAB8F-A2CC-4A1B-A6BD-D7FBE8D1BD5F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duce Network I/O</a:t>
              </a:r>
            </a:p>
          </p:txBody>
        </p:sp>
      </p:grpSp>
      <p:grpSp>
        <p:nvGrpSpPr>
          <p:cNvPr id="18" name="Yellow Point">
            <a:extLst>
              <a:ext uri="{FF2B5EF4-FFF2-40B4-BE49-F238E27FC236}">
                <a16:creationId xmlns:a16="http://schemas.microsoft.com/office/drawing/2014/main" id="{79913C81-519E-49C2-A34F-027D04BC3BD4}"/>
              </a:ext>
            </a:extLst>
          </p:cNvPr>
          <p:cNvGrpSpPr/>
          <p:nvPr/>
        </p:nvGrpSpPr>
        <p:grpSpPr>
          <a:xfrm>
            <a:off x="2640563" y="2288476"/>
            <a:ext cx="6910875" cy="1134001"/>
            <a:chOff x="6389225" y="1006997"/>
            <a:chExt cx="4726281" cy="775532"/>
          </a:xfrm>
        </p:grpSpPr>
        <p:sp>
          <p:nvSpPr>
            <p:cNvPr id="19" name="Rectangle: Rounded Corners 8">
              <a:extLst>
                <a:ext uri="{FF2B5EF4-FFF2-40B4-BE49-F238E27FC236}">
                  <a16:creationId xmlns:a16="http://schemas.microsoft.com/office/drawing/2014/main" id="{22CC17D5-25EA-465C-B139-1DEF3EC5F348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09294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177331" y="4685"/>
                    <a:pt x="209294" y="4685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F4AB3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Rectangle: Rounded Corners 8">
              <a:extLst>
                <a:ext uri="{FF2B5EF4-FFF2-40B4-BE49-F238E27FC236}">
                  <a16:creationId xmlns:a16="http://schemas.microsoft.com/office/drawing/2014/main" id="{E90062B2-7D5C-4EFF-B842-13558F30A1CE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D48E87D-B47C-4BC3-88D2-BB29B3B9E5E1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1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22" name="Yellow Q">
              <a:extLst>
                <a:ext uri="{FF2B5EF4-FFF2-40B4-BE49-F238E27FC236}">
                  <a16:creationId xmlns:a16="http://schemas.microsoft.com/office/drawing/2014/main" id="{A772DE20-2232-4EC9-AD2F-0DB00A3AA222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duce Disk I/O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Heading">
            <a:extLst>
              <a:ext uri="{FF2B5EF4-FFF2-40B4-BE49-F238E27FC236}">
                <a16:creationId xmlns:a16="http://schemas.microsoft.com/office/drawing/2014/main" id="{E938B584-7F58-4DBA-A087-B43A64A243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DUCING DISK I/O</a:t>
            </a:r>
          </a:p>
        </p:txBody>
      </p:sp>
      <p:grpSp>
        <p:nvGrpSpPr>
          <p:cNvPr id="24" name="Green Point">
            <a:extLst>
              <a:ext uri="{FF2B5EF4-FFF2-40B4-BE49-F238E27FC236}">
                <a16:creationId xmlns:a16="http://schemas.microsoft.com/office/drawing/2014/main" id="{43A81811-2DCD-42B8-B084-86D2078872BC}"/>
              </a:ext>
            </a:extLst>
          </p:cNvPr>
          <p:cNvGrpSpPr/>
          <p:nvPr/>
        </p:nvGrpSpPr>
        <p:grpSpPr>
          <a:xfrm>
            <a:off x="2640563" y="5013176"/>
            <a:ext cx="6910875" cy="1134001"/>
            <a:chOff x="6389225" y="1006997"/>
            <a:chExt cx="4726281" cy="775532"/>
          </a:xfrm>
        </p:grpSpPr>
        <p:sp>
          <p:nvSpPr>
            <p:cNvPr id="25" name="Rectangle: Rounded Corners 8">
              <a:extLst>
                <a:ext uri="{FF2B5EF4-FFF2-40B4-BE49-F238E27FC236}">
                  <a16:creationId xmlns:a16="http://schemas.microsoft.com/office/drawing/2014/main" id="{7DA8615D-07F3-472C-A1F5-BAE54E6CB019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44233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12270" y="4685"/>
                    <a:pt x="244233" y="4685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23AE7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Rectangle: Rounded Corners 8">
              <a:extLst>
                <a:ext uri="{FF2B5EF4-FFF2-40B4-BE49-F238E27FC236}">
                  <a16:creationId xmlns:a16="http://schemas.microsoft.com/office/drawing/2014/main" id="{30BD8CA0-71EC-488E-A3CC-D2A9B1DAE40E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0EC6E41-0015-422E-A8BC-73FEBFE372F4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4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28" name="Yellow Q">
              <a:extLst>
                <a:ext uri="{FF2B5EF4-FFF2-40B4-BE49-F238E27FC236}">
                  <a16:creationId xmlns:a16="http://schemas.microsoft.com/office/drawing/2014/main" id="{AD05EF1A-3201-4B6A-B1C4-21E28A46277E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Using a caching strategy</a:t>
              </a:r>
            </a:p>
          </p:txBody>
        </p:sp>
      </p:grpSp>
      <p:grpSp>
        <p:nvGrpSpPr>
          <p:cNvPr id="29" name="Grey Point">
            <a:extLst>
              <a:ext uri="{FF2B5EF4-FFF2-40B4-BE49-F238E27FC236}">
                <a16:creationId xmlns:a16="http://schemas.microsoft.com/office/drawing/2014/main" id="{FEB08D6F-C32C-4E68-98FB-FCA057CC8081}"/>
              </a:ext>
            </a:extLst>
          </p:cNvPr>
          <p:cNvGrpSpPr/>
          <p:nvPr/>
        </p:nvGrpSpPr>
        <p:grpSpPr>
          <a:xfrm>
            <a:off x="2640563" y="3706359"/>
            <a:ext cx="6910875" cy="1134001"/>
            <a:chOff x="6389225" y="1006997"/>
            <a:chExt cx="4726281" cy="775532"/>
          </a:xfrm>
        </p:grpSpPr>
        <p:sp>
          <p:nvSpPr>
            <p:cNvPr id="30" name="Rectangle: Rounded Corners 8">
              <a:extLst>
                <a:ext uri="{FF2B5EF4-FFF2-40B4-BE49-F238E27FC236}">
                  <a16:creationId xmlns:a16="http://schemas.microsoft.com/office/drawing/2014/main" id="{6BF40F0D-1762-4075-86A8-282AC7D3A00D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32581 w 4726281"/>
                <a:gd name="connsiteY1" fmla="*/ 3056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00618" y="3056"/>
                    <a:pt x="232581" y="3056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5A5A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: Rounded Corners 8">
              <a:extLst>
                <a:ext uri="{FF2B5EF4-FFF2-40B4-BE49-F238E27FC236}">
                  <a16:creationId xmlns:a16="http://schemas.microsoft.com/office/drawing/2014/main" id="{BE9026F5-00E9-4C18-B867-A4B618656E62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EC1422CE-1611-473F-9DBB-74FA262DED8E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3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3" name="Yellow Q">
              <a:extLst>
                <a:ext uri="{FF2B5EF4-FFF2-40B4-BE49-F238E27FC236}">
                  <a16:creationId xmlns:a16="http://schemas.microsoft.com/office/drawing/2014/main" id="{D911DAF1-4550-403A-A8D2-207564F53A39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Storing data in more optimised file formats</a:t>
              </a:r>
            </a:p>
          </p:txBody>
        </p:sp>
      </p:grpSp>
      <p:grpSp>
        <p:nvGrpSpPr>
          <p:cNvPr id="34" name="Blue Point">
            <a:extLst>
              <a:ext uri="{FF2B5EF4-FFF2-40B4-BE49-F238E27FC236}">
                <a16:creationId xmlns:a16="http://schemas.microsoft.com/office/drawing/2014/main" id="{AF0578DC-0A7B-4A19-B83E-4630B6F675B1}"/>
              </a:ext>
            </a:extLst>
          </p:cNvPr>
          <p:cNvGrpSpPr/>
          <p:nvPr/>
        </p:nvGrpSpPr>
        <p:grpSpPr>
          <a:xfrm>
            <a:off x="2640563" y="2399540"/>
            <a:ext cx="6910875" cy="1134002"/>
            <a:chOff x="6389225" y="1006997"/>
            <a:chExt cx="4726281" cy="775533"/>
          </a:xfrm>
        </p:grpSpPr>
        <p:sp>
          <p:nvSpPr>
            <p:cNvPr id="35" name="Rectangle: Rounded Corners 8">
              <a:extLst>
                <a:ext uri="{FF2B5EF4-FFF2-40B4-BE49-F238E27FC236}">
                  <a16:creationId xmlns:a16="http://schemas.microsoft.com/office/drawing/2014/main" id="{BA94203F-73A1-415A-994B-6FF053254755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8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104464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44233 w 4726281"/>
                <a:gd name="connsiteY1" fmla="*/ 3057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12270" y="3057"/>
                    <a:pt x="244233" y="3057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4890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Rectangle: Rounded Corners 8">
              <a:extLst>
                <a:ext uri="{FF2B5EF4-FFF2-40B4-BE49-F238E27FC236}">
                  <a16:creationId xmlns:a16="http://schemas.microsoft.com/office/drawing/2014/main" id="{D420D2C3-DA1F-4338-AD1C-5B2328494B0A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1B3492B2-CC94-416E-8769-EBF67126F190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2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8" name="Yellow Q">
              <a:extLst>
                <a:ext uri="{FF2B5EF4-FFF2-40B4-BE49-F238E27FC236}">
                  <a16:creationId xmlns:a16="http://schemas.microsoft.com/office/drawing/2014/main" id="{45CAC077-1748-49E6-8C46-0CC7ED64232E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emory tuning</a:t>
              </a:r>
            </a:p>
          </p:txBody>
        </p:sp>
      </p:grpSp>
      <p:grpSp>
        <p:nvGrpSpPr>
          <p:cNvPr id="39" name="Yellow Point">
            <a:extLst>
              <a:ext uri="{FF2B5EF4-FFF2-40B4-BE49-F238E27FC236}">
                <a16:creationId xmlns:a16="http://schemas.microsoft.com/office/drawing/2014/main" id="{5513A611-1585-4215-9731-DDDFA1F95C48}"/>
              </a:ext>
            </a:extLst>
          </p:cNvPr>
          <p:cNvGrpSpPr/>
          <p:nvPr/>
        </p:nvGrpSpPr>
        <p:grpSpPr>
          <a:xfrm>
            <a:off x="2640563" y="1092722"/>
            <a:ext cx="6910875" cy="1134001"/>
            <a:chOff x="6389225" y="1006997"/>
            <a:chExt cx="4726281" cy="775532"/>
          </a:xfrm>
        </p:grpSpPr>
        <p:sp>
          <p:nvSpPr>
            <p:cNvPr id="40" name="Rectangle: Rounded Corners 8">
              <a:extLst>
                <a:ext uri="{FF2B5EF4-FFF2-40B4-BE49-F238E27FC236}">
                  <a16:creationId xmlns:a16="http://schemas.microsoft.com/office/drawing/2014/main" id="{22AFE096-B128-4CAE-985C-02790435D266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09294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177331" y="4685"/>
                    <a:pt x="209294" y="4685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F4AB3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Rectangle: Rounded Corners 8">
              <a:extLst>
                <a:ext uri="{FF2B5EF4-FFF2-40B4-BE49-F238E27FC236}">
                  <a16:creationId xmlns:a16="http://schemas.microsoft.com/office/drawing/2014/main" id="{78FC9F45-399D-466C-A757-67475CFE6DC6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881B0F5-835F-4270-9A45-8840BECF3705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1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3" name="Yellow Q">
              <a:extLst>
                <a:ext uri="{FF2B5EF4-FFF2-40B4-BE49-F238E27FC236}">
                  <a16:creationId xmlns:a16="http://schemas.microsoft.com/office/drawing/2014/main" id="{1D6ED10B-16E4-4CF3-B118-6CD168604D50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Proper serialisation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3" grpId="1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Heading">
            <a:extLst>
              <a:ext uri="{FF2B5EF4-FFF2-40B4-BE49-F238E27FC236}">
                <a16:creationId xmlns:a16="http://schemas.microsoft.com/office/drawing/2014/main" id="{7696909E-4CBA-4B85-97BA-45225AE682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DUCING NETWORK I/O</a:t>
            </a:r>
          </a:p>
        </p:txBody>
      </p:sp>
      <p:grpSp>
        <p:nvGrpSpPr>
          <p:cNvPr id="24" name="Green Point">
            <a:extLst>
              <a:ext uri="{FF2B5EF4-FFF2-40B4-BE49-F238E27FC236}">
                <a16:creationId xmlns:a16="http://schemas.microsoft.com/office/drawing/2014/main" id="{854AF195-6EBE-4044-9135-8E36F8C7E5F4}"/>
              </a:ext>
            </a:extLst>
          </p:cNvPr>
          <p:cNvGrpSpPr/>
          <p:nvPr/>
        </p:nvGrpSpPr>
        <p:grpSpPr>
          <a:xfrm>
            <a:off x="2640563" y="5013176"/>
            <a:ext cx="6910875" cy="1134001"/>
            <a:chOff x="6389225" y="1006997"/>
            <a:chExt cx="4726281" cy="775532"/>
          </a:xfrm>
        </p:grpSpPr>
        <p:sp>
          <p:nvSpPr>
            <p:cNvPr id="25" name="Rectangle: Rounded Corners 8">
              <a:extLst>
                <a:ext uri="{FF2B5EF4-FFF2-40B4-BE49-F238E27FC236}">
                  <a16:creationId xmlns:a16="http://schemas.microsoft.com/office/drawing/2014/main" id="{4BCADAB6-988A-4B6C-9DF7-8897689F82B7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44233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12270" y="4685"/>
                    <a:pt x="244233" y="4685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23AE7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Rectangle: Rounded Corners 8">
              <a:extLst>
                <a:ext uri="{FF2B5EF4-FFF2-40B4-BE49-F238E27FC236}">
                  <a16:creationId xmlns:a16="http://schemas.microsoft.com/office/drawing/2014/main" id="{E8E8AD5B-43AC-4ED6-8C06-7C13217DC080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BE633C1-5648-419B-864E-678A1EB956C8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4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28" name="Yellow Q">
              <a:extLst>
                <a:ext uri="{FF2B5EF4-FFF2-40B4-BE49-F238E27FC236}">
                  <a16:creationId xmlns:a16="http://schemas.microsoft.com/office/drawing/2014/main" id="{8032D7EA-E1B6-4069-B5D8-91463BBD6A59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Joins</a:t>
              </a:r>
            </a:p>
          </p:txBody>
        </p:sp>
      </p:grpSp>
      <p:grpSp>
        <p:nvGrpSpPr>
          <p:cNvPr id="29" name="Grey Point">
            <a:extLst>
              <a:ext uri="{FF2B5EF4-FFF2-40B4-BE49-F238E27FC236}">
                <a16:creationId xmlns:a16="http://schemas.microsoft.com/office/drawing/2014/main" id="{38E2D875-699A-43CD-929C-F4EDFD7467B5}"/>
              </a:ext>
            </a:extLst>
          </p:cNvPr>
          <p:cNvGrpSpPr/>
          <p:nvPr/>
        </p:nvGrpSpPr>
        <p:grpSpPr>
          <a:xfrm>
            <a:off x="2640563" y="3706359"/>
            <a:ext cx="6910875" cy="1134001"/>
            <a:chOff x="6389225" y="1006997"/>
            <a:chExt cx="4726281" cy="775532"/>
          </a:xfrm>
        </p:grpSpPr>
        <p:sp>
          <p:nvSpPr>
            <p:cNvPr id="30" name="Rectangle: Rounded Corners 8">
              <a:extLst>
                <a:ext uri="{FF2B5EF4-FFF2-40B4-BE49-F238E27FC236}">
                  <a16:creationId xmlns:a16="http://schemas.microsoft.com/office/drawing/2014/main" id="{0A732643-4B30-479A-8182-093A8C3E77CC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32581 w 4726281"/>
                <a:gd name="connsiteY1" fmla="*/ 3056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00618" y="3056"/>
                    <a:pt x="232581" y="3056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5A5A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: Rounded Corners 8">
              <a:extLst>
                <a:ext uri="{FF2B5EF4-FFF2-40B4-BE49-F238E27FC236}">
                  <a16:creationId xmlns:a16="http://schemas.microsoft.com/office/drawing/2014/main" id="{B65002A4-A1A1-4609-B5E4-01D0BDB42010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6C8689F1-8F88-446F-B235-555C43B9AB12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3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3" name="Yellow Q">
              <a:extLst>
                <a:ext uri="{FF2B5EF4-FFF2-40B4-BE49-F238E27FC236}">
                  <a16:creationId xmlns:a16="http://schemas.microsoft.com/office/drawing/2014/main" id="{7CFBB2FE-2D8E-42BA-91F2-91C1DC67B57E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Shuffle and sort</a:t>
              </a:r>
            </a:p>
          </p:txBody>
        </p:sp>
      </p:grpSp>
      <p:grpSp>
        <p:nvGrpSpPr>
          <p:cNvPr id="34" name="Blue Point">
            <a:extLst>
              <a:ext uri="{FF2B5EF4-FFF2-40B4-BE49-F238E27FC236}">
                <a16:creationId xmlns:a16="http://schemas.microsoft.com/office/drawing/2014/main" id="{820D7C37-FE8F-4328-8D40-D42298093543}"/>
              </a:ext>
            </a:extLst>
          </p:cNvPr>
          <p:cNvGrpSpPr/>
          <p:nvPr/>
        </p:nvGrpSpPr>
        <p:grpSpPr>
          <a:xfrm>
            <a:off x="2640563" y="2399540"/>
            <a:ext cx="6910875" cy="1134002"/>
            <a:chOff x="6389225" y="1006997"/>
            <a:chExt cx="4726281" cy="775533"/>
          </a:xfrm>
        </p:grpSpPr>
        <p:sp>
          <p:nvSpPr>
            <p:cNvPr id="35" name="Rectangle: Rounded Corners 8">
              <a:extLst>
                <a:ext uri="{FF2B5EF4-FFF2-40B4-BE49-F238E27FC236}">
                  <a16:creationId xmlns:a16="http://schemas.microsoft.com/office/drawing/2014/main" id="{75879DE5-313E-4344-9F66-7411ECE7E738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8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104464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44233 w 4726281"/>
                <a:gd name="connsiteY1" fmla="*/ 3057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12270" y="3057"/>
                    <a:pt x="244233" y="3057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4890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Rectangle: Rounded Corners 8">
              <a:extLst>
                <a:ext uri="{FF2B5EF4-FFF2-40B4-BE49-F238E27FC236}">
                  <a16:creationId xmlns:a16="http://schemas.microsoft.com/office/drawing/2014/main" id="{011869E3-81ED-41A4-8EE1-F7265979CDE4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E5FF85AE-C5D8-431F-8CE9-C12A9BCF34ED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2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8" name="Yellow Q">
              <a:extLst>
                <a:ext uri="{FF2B5EF4-FFF2-40B4-BE49-F238E27FC236}">
                  <a16:creationId xmlns:a16="http://schemas.microsoft.com/office/drawing/2014/main" id="{388BB0EA-CD1F-47F7-B7A7-08AF4E7C9EC0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Partitioning</a:t>
              </a:r>
            </a:p>
          </p:txBody>
        </p:sp>
      </p:grpSp>
      <p:grpSp>
        <p:nvGrpSpPr>
          <p:cNvPr id="39" name="Yellow Point">
            <a:extLst>
              <a:ext uri="{FF2B5EF4-FFF2-40B4-BE49-F238E27FC236}">
                <a16:creationId xmlns:a16="http://schemas.microsoft.com/office/drawing/2014/main" id="{48EFA3F7-C63E-44F6-8A26-3880F4967D25}"/>
              </a:ext>
            </a:extLst>
          </p:cNvPr>
          <p:cNvGrpSpPr/>
          <p:nvPr/>
        </p:nvGrpSpPr>
        <p:grpSpPr>
          <a:xfrm>
            <a:off x="2640563" y="1092722"/>
            <a:ext cx="6910875" cy="1134001"/>
            <a:chOff x="6389225" y="1006997"/>
            <a:chExt cx="4726281" cy="775532"/>
          </a:xfrm>
        </p:grpSpPr>
        <p:sp>
          <p:nvSpPr>
            <p:cNvPr id="40" name="Rectangle: Rounded Corners 8">
              <a:extLst>
                <a:ext uri="{FF2B5EF4-FFF2-40B4-BE49-F238E27FC236}">
                  <a16:creationId xmlns:a16="http://schemas.microsoft.com/office/drawing/2014/main" id="{CD2086B9-9573-4721-B49B-C8CEED55A5EE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09294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177331" y="4685"/>
                    <a:pt x="209294" y="4685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F4AB3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Rectangle: Rounded Corners 8">
              <a:extLst>
                <a:ext uri="{FF2B5EF4-FFF2-40B4-BE49-F238E27FC236}">
                  <a16:creationId xmlns:a16="http://schemas.microsoft.com/office/drawing/2014/main" id="{65BABF3A-5EB1-4166-B519-C3C9378F3806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736BCED3-8302-4CA3-9294-B6499ED038DE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1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3" name="Yellow Q">
              <a:extLst>
                <a:ext uri="{FF2B5EF4-FFF2-40B4-BE49-F238E27FC236}">
                  <a16:creationId xmlns:a16="http://schemas.microsoft.com/office/drawing/2014/main" id="{DAA4B9CB-6218-442F-B379-0FCD7C1D8EA2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Data locality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3" grpId="1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55;p36">
            <a:extLst>
              <a:ext uri="{FF2B5EF4-FFF2-40B4-BE49-F238E27FC236}">
                <a16:creationId xmlns:a16="http://schemas.microsoft.com/office/drawing/2014/main" id="{7F1E709B-6D29-4968-AE01-B36E8DE6DA58}"/>
              </a:ext>
            </a:extLst>
          </p:cNvPr>
          <p:cNvSpPr txBox="1"/>
          <p:nvPr/>
        </p:nvSpPr>
        <p:spPr>
          <a:xfrm>
            <a:off x="1460753" y="1389864"/>
            <a:ext cx="9270495" cy="4582326"/>
          </a:xfrm>
          <a:prstGeom prst="roundRect">
            <a:avLst>
              <a:gd name="adj" fmla="val 3804"/>
            </a:avLst>
          </a:prstGeom>
          <a:noFill/>
          <a:ln w="28575">
            <a:solidFill>
              <a:srgbClr val="F4AB35"/>
            </a:solidFill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algn="ctr"/>
            <a:endParaRPr lang="en-US" sz="1800" dirty="0">
              <a:solidFill>
                <a:schemeClr val="tx1"/>
              </a:solidFill>
              <a:latin typeface="Lato"/>
              <a:ea typeface="Lato"/>
              <a:cs typeface="Lato"/>
              <a:sym typeface="Lato"/>
            </a:endParaRPr>
          </a:p>
        </p:txBody>
      </p:sp>
      <p:pic>
        <p:nvPicPr>
          <p:cNvPr id="738" name="Google Shape;738;p46"/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703514" y="1876714"/>
            <a:ext cx="8784974" cy="3608626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Heading">
            <a:extLst>
              <a:ext uri="{FF2B5EF4-FFF2-40B4-BE49-F238E27FC236}">
                <a16:creationId xmlns:a16="http://schemas.microsoft.com/office/drawing/2014/main" id="{3BF9FFFB-125A-4A25-9171-E15B6DA47F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 OPTIMIS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7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4" grpId="0" animBg="1"/>
      <p:bldP spid="4" grpId="1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3" name="Google Shape;753;p48"/>
          <p:cNvSpPr/>
          <p:nvPr/>
        </p:nvSpPr>
        <p:spPr>
          <a:xfrm>
            <a:off x="1354210" y="1595224"/>
            <a:ext cx="2357455" cy="1084128"/>
          </a:xfrm>
          <a:prstGeom prst="roundRect">
            <a:avLst>
              <a:gd name="adj" fmla="val 8940"/>
            </a:avLst>
          </a:prstGeom>
          <a:noFill/>
          <a:ln w="9525" cap="flat" cmpd="sng">
            <a:solidFill>
              <a:schemeClr val="tx2">
                <a:lumMod val="5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SzPts val="1100"/>
            </a:pPr>
            <a:r>
              <a:rPr lang="en-IN" sz="1800" b="1" dirty="0">
                <a:solidFill>
                  <a:srgbClr val="EE283C"/>
                </a:solidFill>
                <a:latin typeface="Lato"/>
                <a:ea typeface="Lato"/>
                <a:cs typeface="Lato"/>
                <a:sym typeface="Lato"/>
              </a:rPr>
              <a:t>Disk I/O</a:t>
            </a:r>
            <a:endParaRPr sz="1800" b="1" dirty="0">
              <a:solidFill>
                <a:srgbClr val="EE283C"/>
              </a:solidFill>
              <a:latin typeface="Lato"/>
              <a:ea typeface="Lato"/>
              <a:cs typeface="Lato"/>
              <a:sym typeface="Lato"/>
            </a:endParaRPr>
          </a:p>
          <a:p>
            <a:pPr algn="ctr"/>
            <a:r>
              <a:rPr lang="en-IN" sz="1800" dirty="0">
                <a:latin typeface="Lato"/>
                <a:ea typeface="Lato"/>
                <a:cs typeface="Lato"/>
                <a:sym typeface="Lato"/>
              </a:rPr>
              <a:t>Reading/Writing data from hard disks</a:t>
            </a:r>
            <a:endParaRPr sz="1800" dirty="0"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760" name="Google Shape;760;p48"/>
          <p:cNvSpPr/>
          <p:nvPr/>
        </p:nvSpPr>
        <p:spPr>
          <a:xfrm>
            <a:off x="2221607" y="6120674"/>
            <a:ext cx="7748786" cy="526594"/>
          </a:xfrm>
          <a:prstGeom prst="roundRect">
            <a:avLst>
              <a:gd name="adj" fmla="val 18830"/>
            </a:avLst>
          </a:prstGeom>
          <a:noFill/>
          <a:ln w="9525" cap="flat" cmpd="sng">
            <a:solidFill>
              <a:schemeClr val="tx2">
                <a:lumMod val="5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IN" sz="1800" dirty="0">
                <a:solidFill>
                  <a:srgbClr val="EE283C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Total Delay </a:t>
            </a:r>
            <a:r>
              <a:rPr lang="en-IN" sz="18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= </a:t>
            </a:r>
            <a:r>
              <a:rPr lang="en-IN" sz="1800" dirty="0">
                <a:solidFill>
                  <a:srgbClr val="F4AB35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Seek Delay </a:t>
            </a:r>
            <a:r>
              <a:rPr lang="en-IN" sz="18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+ </a:t>
            </a:r>
            <a:r>
              <a:rPr lang="en-IN" sz="1800" dirty="0">
                <a:solidFill>
                  <a:srgbClr val="4890E4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Rotational Delay of HDD </a:t>
            </a:r>
            <a:r>
              <a:rPr lang="en-IN" sz="18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+ </a:t>
            </a:r>
            <a:r>
              <a:rPr lang="en-IN" sz="1800" dirty="0">
                <a:solidFill>
                  <a:srgbClr val="5A5A5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Transfer Delay</a:t>
            </a:r>
            <a:endParaRPr sz="1800" dirty="0">
              <a:solidFill>
                <a:srgbClr val="5A5A5A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/>
            </a:endParaRPr>
          </a:p>
        </p:txBody>
      </p:sp>
      <p:sp>
        <p:nvSpPr>
          <p:cNvPr id="11" name="Heading">
            <a:extLst>
              <a:ext uri="{FF2B5EF4-FFF2-40B4-BE49-F238E27FC236}">
                <a16:creationId xmlns:a16="http://schemas.microsoft.com/office/drawing/2014/main" id="{103279FD-7A8E-410F-8C2A-53F7322A8F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DERSTANDING DISK I/O IN SPARK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E2B9922-F2A0-4C86-92BB-FAFE242048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7392" y="801382"/>
            <a:ext cx="3099543" cy="307933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DD984AA-4EA5-4D43-B96A-A0188CA6CEE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5503" y="2928735"/>
            <a:ext cx="3099543" cy="307933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682F148-065C-4E86-ADEF-AED4707D720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5378" y="2967876"/>
            <a:ext cx="3060145" cy="304018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3FCFA867-CFA7-4D2D-B4DA-51003CFDF085}"/>
              </a:ext>
            </a:extLst>
          </p:cNvPr>
          <p:cNvSpPr txBox="1"/>
          <p:nvPr/>
        </p:nvSpPr>
        <p:spPr>
          <a:xfrm>
            <a:off x="5354282" y="2156381"/>
            <a:ext cx="1485762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1800" b="1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eek Dela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72F1504-7091-407A-A442-D7C46ABB01B2}"/>
              </a:ext>
            </a:extLst>
          </p:cNvPr>
          <p:cNvSpPr txBox="1"/>
          <p:nvPr/>
        </p:nvSpPr>
        <p:spPr>
          <a:xfrm>
            <a:off x="6592393" y="4145235"/>
            <a:ext cx="1485762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1800" b="1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ransfer Dela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1B04E98-DCF6-416D-9486-6D7B6CF280E1}"/>
              </a:ext>
            </a:extLst>
          </p:cNvPr>
          <p:cNvSpPr txBox="1"/>
          <p:nvPr/>
        </p:nvSpPr>
        <p:spPr>
          <a:xfrm>
            <a:off x="3870873" y="4164805"/>
            <a:ext cx="1969155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800" b="1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otational Delay of Hard Disk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7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7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7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3" grpId="0" animBg="1"/>
      <p:bldP spid="753" grpId="1" animBg="1"/>
      <p:bldP spid="760" grpId="0" animBg="1"/>
      <p:bldP spid="760" grpId="1" animBg="1"/>
      <p:bldP spid="11" grpId="0" animBg="1"/>
      <p:bldP spid="11" grpId="1" animBg="1"/>
      <p:bldP spid="18" grpId="0"/>
      <p:bldP spid="18" grpId="1"/>
      <p:bldP spid="19" grpId="0"/>
      <p:bldP spid="19" grpId="1"/>
      <p:bldP spid="20" grpId="0"/>
      <p:bldP spid="20" grpId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ing">
            <a:extLst>
              <a:ext uri="{FF2B5EF4-FFF2-40B4-BE49-F238E27FC236}">
                <a16:creationId xmlns:a16="http://schemas.microsoft.com/office/drawing/2014/main" id="{4A3481BE-D8E0-4AB2-8045-6559A1C469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CHNIQUES TO REDUCE DISK I/O</a:t>
            </a:r>
          </a:p>
        </p:txBody>
      </p:sp>
      <p:grpSp>
        <p:nvGrpSpPr>
          <p:cNvPr id="18" name="Grey Ans Box">
            <a:extLst>
              <a:ext uri="{FF2B5EF4-FFF2-40B4-BE49-F238E27FC236}">
                <a16:creationId xmlns:a16="http://schemas.microsoft.com/office/drawing/2014/main" id="{A04338A1-4EF0-40F1-BC58-1752B155D21C}"/>
              </a:ext>
            </a:extLst>
          </p:cNvPr>
          <p:cNvGrpSpPr/>
          <p:nvPr/>
        </p:nvGrpSpPr>
        <p:grpSpPr>
          <a:xfrm>
            <a:off x="2978592" y="4852612"/>
            <a:ext cx="6643641" cy="747621"/>
            <a:chOff x="6207156" y="1593107"/>
            <a:chExt cx="6643641" cy="747621"/>
          </a:xfrm>
        </p:grpSpPr>
        <p:grpSp>
          <p:nvGrpSpPr>
            <p:cNvPr id="19" name="Yellow Ans Box">
              <a:extLst>
                <a:ext uri="{FF2B5EF4-FFF2-40B4-BE49-F238E27FC236}">
                  <a16:creationId xmlns:a16="http://schemas.microsoft.com/office/drawing/2014/main" id="{180FB912-0471-44C2-ABCF-0B732E60186C}"/>
                </a:ext>
              </a:extLst>
            </p:cNvPr>
            <p:cNvGrpSpPr/>
            <p:nvPr/>
          </p:nvGrpSpPr>
          <p:grpSpPr>
            <a:xfrm>
              <a:off x="6207156" y="1593107"/>
              <a:ext cx="6643641" cy="747621"/>
              <a:chOff x="6207156" y="1593107"/>
              <a:chExt cx="6643641" cy="747621"/>
            </a:xfrm>
            <a:solidFill>
              <a:schemeClr val="accent1"/>
            </a:solidFill>
          </p:grpSpPr>
          <p:sp>
            <p:nvSpPr>
              <p:cNvPr id="21" name="Freeform: Shape 10">
                <a:extLst>
                  <a:ext uri="{FF2B5EF4-FFF2-40B4-BE49-F238E27FC236}">
                    <a16:creationId xmlns:a16="http://schemas.microsoft.com/office/drawing/2014/main" id="{BC225739-5650-4403-B9FB-94900E8E1CDC}"/>
                  </a:ext>
                </a:extLst>
              </p:cNvPr>
              <p:cNvSpPr/>
              <p:nvPr/>
            </p:nvSpPr>
            <p:spPr>
              <a:xfrm>
                <a:off x="6221397" y="1607348"/>
                <a:ext cx="6629400" cy="719140"/>
              </a:xfrm>
              <a:custGeom>
                <a:avLst/>
                <a:gdLst>
                  <a:gd name="connsiteX0" fmla="*/ 0 w 5596478"/>
                  <a:gd name="connsiteY0" fmla="*/ 719140 h 719140"/>
                  <a:gd name="connsiteX1" fmla="*/ 0 w 5596478"/>
                  <a:gd name="connsiteY1" fmla="*/ 0 h 719140"/>
                  <a:gd name="connsiteX2" fmla="*/ 5516162 w 5596478"/>
                  <a:gd name="connsiteY2" fmla="*/ 0 h 719140"/>
                  <a:gd name="connsiteX3" fmla="*/ 5596478 w 5596478"/>
                  <a:gd name="connsiteY3" fmla="*/ 80316 h 719140"/>
                  <a:gd name="connsiteX4" fmla="*/ 5596478 w 5596478"/>
                  <a:gd name="connsiteY4" fmla="*/ 638825 h 719140"/>
                  <a:gd name="connsiteX5" fmla="*/ 5516162 w 5596478"/>
                  <a:gd name="connsiteY5" fmla="*/ 719140 h 719140"/>
                  <a:gd name="connsiteX6" fmla="*/ 0 w 5596478"/>
                  <a:gd name="connsiteY6" fmla="*/ 719140 h 719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6478" h="719140">
                    <a:moveTo>
                      <a:pt x="0" y="719140"/>
                    </a:moveTo>
                    <a:lnTo>
                      <a:pt x="0" y="0"/>
                    </a:lnTo>
                    <a:lnTo>
                      <a:pt x="5516162" y="0"/>
                    </a:lnTo>
                    <a:cubicBezTo>
                      <a:pt x="5560450" y="0"/>
                      <a:pt x="5596478" y="36028"/>
                      <a:pt x="5596478" y="80316"/>
                    </a:cubicBezTo>
                    <a:lnTo>
                      <a:pt x="5596478" y="638825"/>
                    </a:lnTo>
                    <a:cubicBezTo>
                      <a:pt x="5596478" y="683112"/>
                      <a:pt x="5560450" y="719140"/>
                      <a:pt x="5516162" y="719140"/>
                    </a:cubicBezTo>
                    <a:lnTo>
                      <a:pt x="0" y="719140"/>
                    </a:lnTo>
                    <a:close/>
                  </a:path>
                </a:pathLst>
              </a:custGeom>
              <a:solidFill>
                <a:srgbClr val="FFFFFF"/>
              </a:solidFill>
              <a:ln w="71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/>
              </a:p>
            </p:txBody>
          </p:sp>
          <p:sp>
            <p:nvSpPr>
              <p:cNvPr id="22" name="Freeform: Shape 11">
                <a:extLst>
                  <a:ext uri="{FF2B5EF4-FFF2-40B4-BE49-F238E27FC236}">
                    <a16:creationId xmlns:a16="http://schemas.microsoft.com/office/drawing/2014/main" id="{79791B11-A9E4-4603-BB05-6DFF3D9DAB3B}"/>
                  </a:ext>
                </a:extLst>
              </p:cNvPr>
              <p:cNvSpPr/>
              <p:nvPr/>
            </p:nvSpPr>
            <p:spPr>
              <a:xfrm>
                <a:off x="6207156" y="1593107"/>
                <a:ext cx="6629400" cy="747621"/>
              </a:xfrm>
              <a:custGeom>
                <a:avLst/>
                <a:gdLst>
                  <a:gd name="connsiteX0" fmla="*/ 5530403 w 5624959"/>
                  <a:gd name="connsiteY0" fmla="*/ 28481 h 747621"/>
                  <a:gd name="connsiteX1" fmla="*/ 5596478 w 5624959"/>
                  <a:gd name="connsiteY1" fmla="*/ 94556 h 747621"/>
                  <a:gd name="connsiteX2" fmla="*/ 5596478 w 5624959"/>
                  <a:gd name="connsiteY2" fmla="*/ 653065 h 747621"/>
                  <a:gd name="connsiteX3" fmla="*/ 5530403 w 5624959"/>
                  <a:gd name="connsiteY3" fmla="*/ 719140 h 747621"/>
                  <a:gd name="connsiteX4" fmla="*/ 28481 w 5624959"/>
                  <a:gd name="connsiteY4" fmla="*/ 719140 h 747621"/>
                  <a:gd name="connsiteX5" fmla="*/ 28481 w 5624959"/>
                  <a:gd name="connsiteY5" fmla="*/ 28481 h 747621"/>
                  <a:gd name="connsiteX6" fmla="*/ 5530403 w 5624959"/>
                  <a:gd name="connsiteY6" fmla="*/ 28481 h 747621"/>
                  <a:gd name="connsiteX7" fmla="*/ 5530403 w 5624959"/>
                  <a:gd name="connsiteY7" fmla="*/ 0 h 747621"/>
                  <a:gd name="connsiteX8" fmla="*/ 28481 w 5624959"/>
                  <a:gd name="connsiteY8" fmla="*/ 0 h 747621"/>
                  <a:gd name="connsiteX9" fmla="*/ 0 w 5624959"/>
                  <a:gd name="connsiteY9" fmla="*/ 0 h 747621"/>
                  <a:gd name="connsiteX10" fmla="*/ 0 w 5624959"/>
                  <a:gd name="connsiteY10" fmla="*/ 28481 h 747621"/>
                  <a:gd name="connsiteX11" fmla="*/ 0 w 5624959"/>
                  <a:gd name="connsiteY11" fmla="*/ 719140 h 747621"/>
                  <a:gd name="connsiteX12" fmla="*/ 0 w 5624959"/>
                  <a:gd name="connsiteY12" fmla="*/ 747621 h 747621"/>
                  <a:gd name="connsiteX13" fmla="*/ 28481 w 5624959"/>
                  <a:gd name="connsiteY13" fmla="*/ 747621 h 747621"/>
                  <a:gd name="connsiteX14" fmla="*/ 5530403 w 5624959"/>
                  <a:gd name="connsiteY14" fmla="*/ 747621 h 747621"/>
                  <a:gd name="connsiteX15" fmla="*/ 5624959 w 5624959"/>
                  <a:gd name="connsiteY15" fmla="*/ 653065 h 747621"/>
                  <a:gd name="connsiteX16" fmla="*/ 5624959 w 5624959"/>
                  <a:gd name="connsiteY16" fmla="*/ 94556 h 747621"/>
                  <a:gd name="connsiteX17" fmla="*/ 5530403 w 5624959"/>
                  <a:gd name="connsiteY17" fmla="*/ 0 h 747621"/>
                  <a:gd name="connsiteX18" fmla="*/ 5530403 w 5624959"/>
                  <a:gd name="connsiteY18" fmla="*/ 0 h 747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24959" h="747621">
                    <a:moveTo>
                      <a:pt x="5530403" y="28481"/>
                    </a:moveTo>
                    <a:cubicBezTo>
                      <a:pt x="5566859" y="28481"/>
                      <a:pt x="5596478" y="58030"/>
                      <a:pt x="5596478" y="94556"/>
                    </a:cubicBezTo>
                    <a:lnTo>
                      <a:pt x="5596478" y="653065"/>
                    </a:lnTo>
                    <a:cubicBezTo>
                      <a:pt x="5596478" y="689520"/>
                      <a:pt x="5566929" y="719140"/>
                      <a:pt x="5530403" y="719140"/>
                    </a:cubicBezTo>
                    <a:lnTo>
                      <a:pt x="28481" y="719140"/>
                    </a:lnTo>
                    <a:lnTo>
                      <a:pt x="28481" y="28481"/>
                    </a:lnTo>
                    <a:lnTo>
                      <a:pt x="5530403" y="28481"/>
                    </a:lnTo>
                    <a:moveTo>
                      <a:pt x="5530403" y="0"/>
                    </a:moveTo>
                    <a:lnTo>
                      <a:pt x="28481" y="0"/>
                    </a:lnTo>
                    <a:lnTo>
                      <a:pt x="0" y="0"/>
                    </a:lnTo>
                    <a:lnTo>
                      <a:pt x="0" y="28481"/>
                    </a:lnTo>
                    <a:lnTo>
                      <a:pt x="0" y="719140"/>
                    </a:lnTo>
                    <a:lnTo>
                      <a:pt x="0" y="747621"/>
                    </a:lnTo>
                    <a:lnTo>
                      <a:pt x="28481" y="747621"/>
                    </a:lnTo>
                    <a:lnTo>
                      <a:pt x="5530403" y="747621"/>
                    </a:lnTo>
                    <a:cubicBezTo>
                      <a:pt x="5582523" y="747621"/>
                      <a:pt x="5624959" y="705185"/>
                      <a:pt x="5624959" y="653065"/>
                    </a:cubicBezTo>
                    <a:lnTo>
                      <a:pt x="5624959" y="94556"/>
                    </a:lnTo>
                    <a:cubicBezTo>
                      <a:pt x="5624959" y="42436"/>
                      <a:pt x="5582523" y="0"/>
                      <a:pt x="5530403" y="0"/>
                    </a:cubicBezTo>
                    <a:lnTo>
                      <a:pt x="5530403" y="0"/>
                    </a:lnTo>
                    <a:close/>
                  </a:path>
                </a:pathLst>
              </a:custGeom>
              <a:solidFill>
                <a:srgbClr val="5A5A5A"/>
              </a:solidFill>
              <a:ln w="71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/>
              </a:p>
            </p:txBody>
          </p:sp>
        </p:grpSp>
        <p:sp>
          <p:nvSpPr>
            <p:cNvPr id="20" name="Yellow Heading">
              <a:extLst>
                <a:ext uri="{FF2B5EF4-FFF2-40B4-BE49-F238E27FC236}">
                  <a16:creationId xmlns:a16="http://schemas.microsoft.com/office/drawing/2014/main" id="{6642ED49-1A49-4CAF-87F4-CC8A4D662D87}"/>
                </a:ext>
              </a:extLst>
            </p:cNvPr>
            <p:cNvSpPr/>
            <p:nvPr/>
          </p:nvSpPr>
          <p:spPr>
            <a:xfrm>
              <a:off x="6285532" y="1729782"/>
              <a:ext cx="561769" cy="46666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07000"/>
                </a:lnSpc>
                <a:spcAft>
                  <a:spcPts val="200"/>
                </a:spcAft>
              </a:pPr>
              <a:r>
                <a:rPr lang="en-US" sz="2400" b="1" dirty="0">
                  <a:solidFill>
                    <a:srgbClr val="5A5A5A"/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A:</a:t>
              </a:r>
              <a:endParaRPr lang="en-IN" sz="2400" b="1" dirty="0">
                <a:solidFill>
                  <a:srgbClr val="5A5A5A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7" name="Grey Q Box">
            <a:extLst>
              <a:ext uri="{FF2B5EF4-FFF2-40B4-BE49-F238E27FC236}">
                <a16:creationId xmlns:a16="http://schemas.microsoft.com/office/drawing/2014/main" id="{E19DA7E4-C15A-4F80-A0BA-53E0FC5E9EDA}"/>
              </a:ext>
            </a:extLst>
          </p:cNvPr>
          <p:cNvGrpSpPr/>
          <p:nvPr/>
        </p:nvGrpSpPr>
        <p:grpSpPr>
          <a:xfrm>
            <a:off x="2978593" y="4239208"/>
            <a:ext cx="674497" cy="640080"/>
            <a:chOff x="6207157" y="838366"/>
            <a:chExt cx="674497" cy="783222"/>
          </a:xfrm>
        </p:grpSpPr>
        <p:sp>
          <p:nvSpPr>
            <p:cNvPr id="28" name="Yellow Q Box">
              <a:extLst>
                <a:ext uri="{FF2B5EF4-FFF2-40B4-BE49-F238E27FC236}">
                  <a16:creationId xmlns:a16="http://schemas.microsoft.com/office/drawing/2014/main" id="{B250D754-853A-4C62-AD5B-B1FCC388761E}"/>
                </a:ext>
              </a:extLst>
            </p:cNvPr>
            <p:cNvSpPr/>
            <p:nvPr/>
          </p:nvSpPr>
          <p:spPr>
            <a:xfrm>
              <a:off x="6207157" y="838366"/>
              <a:ext cx="662179" cy="783222"/>
            </a:xfrm>
            <a:custGeom>
              <a:avLst/>
              <a:gdLst>
                <a:gd name="connsiteX0" fmla="*/ 662179 w 662178"/>
                <a:gd name="connsiteY0" fmla="*/ 783222 h 783222"/>
                <a:gd name="connsiteX1" fmla="*/ 0 w 662178"/>
                <a:gd name="connsiteY1" fmla="*/ 783222 h 783222"/>
                <a:gd name="connsiteX2" fmla="*/ 0 w 662178"/>
                <a:gd name="connsiteY2" fmla="*/ 0 h 783222"/>
                <a:gd name="connsiteX3" fmla="*/ 583785 w 662178"/>
                <a:gd name="connsiteY3" fmla="*/ 0 h 783222"/>
                <a:gd name="connsiteX4" fmla="*/ 662179 w 662178"/>
                <a:gd name="connsiteY4" fmla="*/ 78393 h 783222"/>
                <a:gd name="connsiteX5" fmla="*/ 662179 w 662178"/>
                <a:gd name="connsiteY5" fmla="*/ 783222 h 783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2178" h="783222">
                  <a:moveTo>
                    <a:pt x="662179" y="783222"/>
                  </a:moveTo>
                  <a:lnTo>
                    <a:pt x="0" y="783222"/>
                  </a:lnTo>
                  <a:lnTo>
                    <a:pt x="0" y="0"/>
                  </a:lnTo>
                  <a:lnTo>
                    <a:pt x="583785" y="0"/>
                  </a:lnTo>
                  <a:cubicBezTo>
                    <a:pt x="627076" y="0"/>
                    <a:pt x="662179" y="35103"/>
                    <a:pt x="662179" y="78393"/>
                  </a:cubicBezTo>
                  <a:lnTo>
                    <a:pt x="662179" y="783222"/>
                  </a:lnTo>
                  <a:close/>
                </a:path>
              </a:pathLst>
            </a:custGeom>
            <a:solidFill>
              <a:srgbClr val="5A5A5A"/>
            </a:solidFill>
            <a:ln w="71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29" name="Yellow Heading">
              <a:extLst>
                <a:ext uri="{FF2B5EF4-FFF2-40B4-BE49-F238E27FC236}">
                  <a16:creationId xmlns:a16="http://schemas.microsoft.com/office/drawing/2014/main" id="{BC9AB1A3-4EA4-40AE-9788-814324ABADA1}"/>
                </a:ext>
              </a:extLst>
            </p:cNvPr>
            <p:cNvSpPr/>
            <p:nvPr/>
          </p:nvSpPr>
          <p:spPr>
            <a:xfrm>
              <a:off x="6219475" y="983380"/>
              <a:ext cx="662179" cy="46666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07000"/>
                </a:lnSpc>
                <a:spcAft>
                  <a:spcPts val="200"/>
                </a:spcAft>
              </a:pPr>
              <a:r>
                <a:rPr lang="en-US" sz="2400" b="1" dirty="0">
                  <a:solidFill>
                    <a:schemeClr val="bg1"/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Q3</a:t>
              </a:r>
              <a:endPara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0" name="Blue Q Box">
            <a:extLst>
              <a:ext uri="{FF2B5EF4-FFF2-40B4-BE49-F238E27FC236}">
                <a16:creationId xmlns:a16="http://schemas.microsoft.com/office/drawing/2014/main" id="{F27A0DB3-8A8C-4D1D-BDBF-0E46E1EC7067}"/>
              </a:ext>
            </a:extLst>
          </p:cNvPr>
          <p:cNvGrpSpPr/>
          <p:nvPr/>
        </p:nvGrpSpPr>
        <p:grpSpPr>
          <a:xfrm>
            <a:off x="2978593" y="2776586"/>
            <a:ext cx="674497" cy="640080"/>
            <a:chOff x="6207157" y="838366"/>
            <a:chExt cx="674497" cy="783222"/>
          </a:xfrm>
        </p:grpSpPr>
        <p:sp>
          <p:nvSpPr>
            <p:cNvPr id="31" name="Yellow Q Box">
              <a:extLst>
                <a:ext uri="{FF2B5EF4-FFF2-40B4-BE49-F238E27FC236}">
                  <a16:creationId xmlns:a16="http://schemas.microsoft.com/office/drawing/2014/main" id="{467E9BF0-A49A-4970-BD55-38FE50C2B78E}"/>
                </a:ext>
              </a:extLst>
            </p:cNvPr>
            <p:cNvSpPr/>
            <p:nvPr/>
          </p:nvSpPr>
          <p:spPr>
            <a:xfrm>
              <a:off x="6207157" y="838366"/>
              <a:ext cx="662179" cy="783222"/>
            </a:xfrm>
            <a:custGeom>
              <a:avLst/>
              <a:gdLst>
                <a:gd name="connsiteX0" fmla="*/ 662179 w 662178"/>
                <a:gd name="connsiteY0" fmla="*/ 783222 h 783222"/>
                <a:gd name="connsiteX1" fmla="*/ 0 w 662178"/>
                <a:gd name="connsiteY1" fmla="*/ 783222 h 783222"/>
                <a:gd name="connsiteX2" fmla="*/ 0 w 662178"/>
                <a:gd name="connsiteY2" fmla="*/ 0 h 783222"/>
                <a:gd name="connsiteX3" fmla="*/ 583785 w 662178"/>
                <a:gd name="connsiteY3" fmla="*/ 0 h 783222"/>
                <a:gd name="connsiteX4" fmla="*/ 662179 w 662178"/>
                <a:gd name="connsiteY4" fmla="*/ 78393 h 783222"/>
                <a:gd name="connsiteX5" fmla="*/ 662179 w 662178"/>
                <a:gd name="connsiteY5" fmla="*/ 783222 h 783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2178" h="783222">
                  <a:moveTo>
                    <a:pt x="662179" y="783222"/>
                  </a:moveTo>
                  <a:lnTo>
                    <a:pt x="0" y="783222"/>
                  </a:lnTo>
                  <a:lnTo>
                    <a:pt x="0" y="0"/>
                  </a:lnTo>
                  <a:lnTo>
                    <a:pt x="583785" y="0"/>
                  </a:lnTo>
                  <a:cubicBezTo>
                    <a:pt x="627076" y="0"/>
                    <a:pt x="662179" y="35103"/>
                    <a:pt x="662179" y="78393"/>
                  </a:cubicBezTo>
                  <a:lnTo>
                    <a:pt x="662179" y="783222"/>
                  </a:lnTo>
                  <a:close/>
                </a:path>
              </a:pathLst>
            </a:custGeom>
            <a:solidFill>
              <a:srgbClr val="4890E4"/>
            </a:solidFill>
            <a:ln w="71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32" name="Yellow Heading">
              <a:extLst>
                <a:ext uri="{FF2B5EF4-FFF2-40B4-BE49-F238E27FC236}">
                  <a16:creationId xmlns:a16="http://schemas.microsoft.com/office/drawing/2014/main" id="{B1C9F953-CCD0-4E24-980E-2374949E4E33}"/>
                </a:ext>
              </a:extLst>
            </p:cNvPr>
            <p:cNvSpPr/>
            <p:nvPr/>
          </p:nvSpPr>
          <p:spPr>
            <a:xfrm>
              <a:off x="6219475" y="983380"/>
              <a:ext cx="662179" cy="46666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07000"/>
                </a:lnSpc>
                <a:spcAft>
                  <a:spcPts val="200"/>
                </a:spcAft>
              </a:pPr>
              <a:r>
                <a:rPr lang="en-US" sz="2400" b="1" dirty="0">
                  <a:solidFill>
                    <a:schemeClr val="bg1"/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Q2</a:t>
              </a:r>
              <a:endPara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3" name="Blue Q">
            <a:extLst>
              <a:ext uri="{FF2B5EF4-FFF2-40B4-BE49-F238E27FC236}">
                <a16:creationId xmlns:a16="http://schemas.microsoft.com/office/drawing/2014/main" id="{C0EE4A89-1381-45FB-878A-469C78822BC4}"/>
              </a:ext>
            </a:extLst>
          </p:cNvPr>
          <p:cNvSpPr txBox="1"/>
          <p:nvPr/>
        </p:nvSpPr>
        <p:spPr>
          <a:xfrm>
            <a:off x="3624858" y="2863293"/>
            <a:ext cx="5735041" cy="466667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200"/>
              </a:spcAft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e formats: Parquet and ORC</a:t>
            </a:r>
          </a:p>
        </p:txBody>
      </p:sp>
      <p:grpSp>
        <p:nvGrpSpPr>
          <p:cNvPr id="34" name="Blue Ans Box">
            <a:extLst>
              <a:ext uri="{FF2B5EF4-FFF2-40B4-BE49-F238E27FC236}">
                <a16:creationId xmlns:a16="http://schemas.microsoft.com/office/drawing/2014/main" id="{CB8732BF-9E01-4855-A7A0-7AECECB00C4F}"/>
              </a:ext>
            </a:extLst>
          </p:cNvPr>
          <p:cNvGrpSpPr/>
          <p:nvPr/>
        </p:nvGrpSpPr>
        <p:grpSpPr>
          <a:xfrm>
            <a:off x="2978592" y="3400701"/>
            <a:ext cx="6643641" cy="747621"/>
            <a:chOff x="6207156" y="1593107"/>
            <a:chExt cx="6643641" cy="747621"/>
          </a:xfrm>
        </p:grpSpPr>
        <p:grpSp>
          <p:nvGrpSpPr>
            <p:cNvPr id="35" name="Yellow Ans Box">
              <a:extLst>
                <a:ext uri="{FF2B5EF4-FFF2-40B4-BE49-F238E27FC236}">
                  <a16:creationId xmlns:a16="http://schemas.microsoft.com/office/drawing/2014/main" id="{B29B51D2-EE1F-46A7-A699-24A5FECC2A5F}"/>
                </a:ext>
              </a:extLst>
            </p:cNvPr>
            <p:cNvGrpSpPr/>
            <p:nvPr/>
          </p:nvGrpSpPr>
          <p:grpSpPr>
            <a:xfrm>
              <a:off x="6207156" y="1593107"/>
              <a:ext cx="6643641" cy="747621"/>
              <a:chOff x="6207156" y="1593107"/>
              <a:chExt cx="6643641" cy="747621"/>
            </a:xfrm>
            <a:solidFill>
              <a:schemeClr val="accent1"/>
            </a:solidFill>
          </p:grpSpPr>
          <p:sp>
            <p:nvSpPr>
              <p:cNvPr id="37" name="Freeform: Shape 20">
                <a:extLst>
                  <a:ext uri="{FF2B5EF4-FFF2-40B4-BE49-F238E27FC236}">
                    <a16:creationId xmlns:a16="http://schemas.microsoft.com/office/drawing/2014/main" id="{FDBC8FE8-90E7-4EF5-8C25-971C44BFA902}"/>
                  </a:ext>
                </a:extLst>
              </p:cNvPr>
              <p:cNvSpPr/>
              <p:nvPr/>
            </p:nvSpPr>
            <p:spPr>
              <a:xfrm>
                <a:off x="6221397" y="1607348"/>
                <a:ext cx="6629400" cy="719140"/>
              </a:xfrm>
              <a:custGeom>
                <a:avLst/>
                <a:gdLst>
                  <a:gd name="connsiteX0" fmla="*/ 0 w 5596478"/>
                  <a:gd name="connsiteY0" fmla="*/ 719140 h 719140"/>
                  <a:gd name="connsiteX1" fmla="*/ 0 w 5596478"/>
                  <a:gd name="connsiteY1" fmla="*/ 0 h 719140"/>
                  <a:gd name="connsiteX2" fmla="*/ 5516162 w 5596478"/>
                  <a:gd name="connsiteY2" fmla="*/ 0 h 719140"/>
                  <a:gd name="connsiteX3" fmla="*/ 5596478 w 5596478"/>
                  <a:gd name="connsiteY3" fmla="*/ 80316 h 719140"/>
                  <a:gd name="connsiteX4" fmla="*/ 5596478 w 5596478"/>
                  <a:gd name="connsiteY4" fmla="*/ 638825 h 719140"/>
                  <a:gd name="connsiteX5" fmla="*/ 5516162 w 5596478"/>
                  <a:gd name="connsiteY5" fmla="*/ 719140 h 719140"/>
                  <a:gd name="connsiteX6" fmla="*/ 0 w 5596478"/>
                  <a:gd name="connsiteY6" fmla="*/ 719140 h 719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6478" h="719140">
                    <a:moveTo>
                      <a:pt x="0" y="719140"/>
                    </a:moveTo>
                    <a:lnTo>
                      <a:pt x="0" y="0"/>
                    </a:lnTo>
                    <a:lnTo>
                      <a:pt x="5516162" y="0"/>
                    </a:lnTo>
                    <a:cubicBezTo>
                      <a:pt x="5560450" y="0"/>
                      <a:pt x="5596478" y="36028"/>
                      <a:pt x="5596478" y="80316"/>
                    </a:cubicBezTo>
                    <a:lnTo>
                      <a:pt x="5596478" y="638825"/>
                    </a:lnTo>
                    <a:cubicBezTo>
                      <a:pt x="5596478" y="683112"/>
                      <a:pt x="5560450" y="719140"/>
                      <a:pt x="5516162" y="719140"/>
                    </a:cubicBezTo>
                    <a:lnTo>
                      <a:pt x="0" y="719140"/>
                    </a:lnTo>
                    <a:close/>
                  </a:path>
                </a:pathLst>
              </a:custGeom>
              <a:solidFill>
                <a:srgbClr val="FFFFFF"/>
              </a:solidFill>
              <a:ln w="71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/>
              </a:p>
            </p:txBody>
          </p:sp>
          <p:sp>
            <p:nvSpPr>
              <p:cNvPr id="38" name="Freeform: Shape 21">
                <a:extLst>
                  <a:ext uri="{FF2B5EF4-FFF2-40B4-BE49-F238E27FC236}">
                    <a16:creationId xmlns:a16="http://schemas.microsoft.com/office/drawing/2014/main" id="{80C03075-A637-4A4F-8016-28BD239F94D7}"/>
                  </a:ext>
                </a:extLst>
              </p:cNvPr>
              <p:cNvSpPr/>
              <p:nvPr/>
            </p:nvSpPr>
            <p:spPr>
              <a:xfrm>
                <a:off x="6207156" y="1593107"/>
                <a:ext cx="6629400" cy="747621"/>
              </a:xfrm>
              <a:custGeom>
                <a:avLst/>
                <a:gdLst>
                  <a:gd name="connsiteX0" fmla="*/ 5530403 w 5624959"/>
                  <a:gd name="connsiteY0" fmla="*/ 28481 h 747621"/>
                  <a:gd name="connsiteX1" fmla="*/ 5596478 w 5624959"/>
                  <a:gd name="connsiteY1" fmla="*/ 94556 h 747621"/>
                  <a:gd name="connsiteX2" fmla="*/ 5596478 w 5624959"/>
                  <a:gd name="connsiteY2" fmla="*/ 653065 h 747621"/>
                  <a:gd name="connsiteX3" fmla="*/ 5530403 w 5624959"/>
                  <a:gd name="connsiteY3" fmla="*/ 719140 h 747621"/>
                  <a:gd name="connsiteX4" fmla="*/ 28481 w 5624959"/>
                  <a:gd name="connsiteY4" fmla="*/ 719140 h 747621"/>
                  <a:gd name="connsiteX5" fmla="*/ 28481 w 5624959"/>
                  <a:gd name="connsiteY5" fmla="*/ 28481 h 747621"/>
                  <a:gd name="connsiteX6" fmla="*/ 5530403 w 5624959"/>
                  <a:gd name="connsiteY6" fmla="*/ 28481 h 747621"/>
                  <a:gd name="connsiteX7" fmla="*/ 5530403 w 5624959"/>
                  <a:gd name="connsiteY7" fmla="*/ 0 h 747621"/>
                  <a:gd name="connsiteX8" fmla="*/ 28481 w 5624959"/>
                  <a:gd name="connsiteY8" fmla="*/ 0 h 747621"/>
                  <a:gd name="connsiteX9" fmla="*/ 0 w 5624959"/>
                  <a:gd name="connsiteY9" fmla="*/ 0 h 747621"/>
                  <a:gd name="connsiteX10" fmla="*/ 0 w 5624959"/>
                  <a:gd name="connsiteY10" fmla="*/ 28481 h 747621"/>
                  <a:gd name="connsiteX11" fmla="*/ 0 w 5624959"/>
                  <a:gd name="connsiteY11" fmla="*/ 719140 h 747621"/>
                  <a:gd name="connsiteX12" fmla="*/ 0 w 5624959"/>
                  <a:gd name="connsiteY12" fmla="*/ 747621 h 747621"/>
                  <a:gd name="connsiteX13" fmla="*/ 28481 w 5624959"/>
                  <a:gd name="connsiteY13" fmla="*/ 747621 h 747621"/>
                  <a:gd name="connsiteX14" fmla="*/ 5530403 w 5624959"/>
                  <a:gd name="connsiteY14" fmla="*/ 747621 h 747621"/>
                  <a:gd name="connsiteX15" fmla="*/ 5624959 w 5624959"/>
                  <a:gd name="connsiteY15" fmla="*/ 653065 h 747621"/>
                  <a:gd name="connsiteX16" fmla="*/ 5624959 w 5624959"/>
                  <a:gd name="connsiteY16" fmla="*/ 94556 h 747621"/>
                  <a:gd name="connsiteX17" fmla="*/ 5530403 w 5624959"/>
                  <a:gd name="connsiteY17" fmla="*/ 0 h 747621"/>
                  <a:gd name="connsiteX18" fmla="*/ 5530403 w 5624959"/>
                  <a:gd name="connsiteY18" fmla="*/ 0 h 747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24959" h="747621">
                    <a:moveTo>
                      <a:pt x="5530403" y="28481"/>
                    </a:moveTo>
                    <a:cubicBezTo>
                      <a:pt x="5566859" y="28481"/>
                      <a:pt x="5596478" y="58030"/>
                      <a:pt x="5596478" y="94556"/>
                    </a:cubicBezTo>
                    <a:lnTo>
                      <a:pt x="5596478" y="653065"/>
                    </a:lnTo>
                    <a:cubicBezTo>
                      <a:pt x="5596478" y="689520"/>
                      <a:pt x="5566929" y="719140"/>
                      <a:pt x="5530403" y="719140"/>
                    </a:cubicBezTo>
                    <a:lnTo>
                      <a:pt x="28481" y="719140"/>
                    </a:lnTo>
                    <a:lnTo>
                      <a:pt x="28481" y="28481"/>
                    </a:lnTo>
                    <a:lnTo>
                      <a:pt x="5530403" y="28481"/>
                    </a:lnTo>
                    <a:moveTo>
                      <a:pt x="5530403" y="0"/>
                    </a:moveTo>
                    <a:lnTo>
                      <a:pt x="28481" y="0"/>
                    </a:lnTo>
                    <a:lnTo>
                      <a:pt x="0" y="0"/>
                    </a:lnTo>
                    <a:lnTo>
                      <a:pt x="0" y="28481"/>
                    </a:lnTo>
                    <a:lnTo>
                      <a:pt x="0" y="719140"/>
                    </a:lnTo>
                    <a:lnTo>
                      <a:pt x="0" y="747621"/>
                    </a:lnTo>
                    <a:lnTo>
                      <a:pt x="28481" y="747621"/>
                    </a:lnTo>
                    <a:lnTo>
                      <a:pt x="5530403" y="747621"/>
                    </a:lnTo>
                    <a:cubicBezTo>
                      <a:pt x="5582523" y="747621"/>
                      <a:pt x="5624959" y="705185"/>
                      <a:pt x="5624959" y="653065"/>
                    </a:cubicBezTo>
                    <a:lnTo>
                      <a:pt x="5624959" y="94556"/>
                    </a:lnTo>
                    <a:cubicBezTo>
                      <a:pt x="5624959" y="42436"/>
                      <a:pt x="5582523" y="0"/>
                      <a:pt x="5530403" y="0"/>
                    </a:cubicBezTo>
                    <a:lnTo>
                      <a:pt x="5530403" y="0"/>
                    </a:lnTo>
                    <a:close/>
                  </a:path>
                </a:pathLst>
              </a:custGeom>
              <a:solidFill>
                <a:srgbClr val="4890E4"/>
              </a:solidFill>
              <a:ln w="71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/>
              </a:p>
            </p:txBody>
          </p:sp>
        </p:grpSp>
        <p:sp>
          <p:nvSpPr>
            <p:cNvPr id="36" name="Yellow Heading">
              <a:extLst>
                <a:ext uri="{FF2B5EF4-FFF2-40B4-BE49-F238E27FC236}">
                  <a16:creationId xmlns:a16="http://schemas.microsoft.com/office/drawing/2014/main" id="{C25FC163-1761-4D6E-9124-6031F0FE4453}"/>
                </a:ext>
              </a:extLst>
            </p:cNvPr>
            <p:cNvSpPr/>
            <p:nvPr/>
          </p:nvSpPr>
          <p:spPr>
            <a:xfrm>
              <a:off x="6285532" y="1729782"/>
              <a:ext cx="561769" cy="46666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07000"/>
                </a:lnSpc>
                <a:spcAft>
                  <a:spcPts val="200"/>
                </a:spcAft>
              </a:pPr>
              <a:r>
                <a:rPr lang="en-US" sz="2400" b="1" dirty="0">
                  <a:solidFill>
                    <a:srgbClr val="4890E4"/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A:</a:t>
              </a:r>
              <a:endParaRPr lang="en-IN" sz="2400" b="1" dirty="0">
                <a:solidFill>
                  <a:srgbClr val="4890E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9" name="Blue A">
            <a:extLst>
              <a:ext uri="{FF2B5EF4-FFF2-40B4-BE49-F238E27FC236}">
                <a16:creationId xmlns:a16="http://schemas.microsoft.com/office/drawing/2014/main" id="{B434F988-CED2-4BAB-AD2E-87609D6482D4}"/>
              </a:ext>
            </a:extLst>
          </p:cNvPr>
          <p:cNvSpPr txBox="1"/>
          <p:nvPr/>
        </p:nvSpPr>
        <p:spPr>
          <a:xfrm>
            <a:off x="3624859" y="3399459"/>
            <a:ext cx="5747741" cy="747621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200"/>
              </a:spcAft>
            </a:pP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press the size by close to 70%, which leads to less storage, and use columnar storage for better compression</a:t>
            </a:r>
          </a:p>
        </p:txBody>
      </p:sp>
      <p:grpSp>
        <p:nvGrpSpPr>
          <p:cNvPr id="40" name="Yellow Q Box">
            <a:extLst>
              <a:ext uri="{FF2B5EF4-FFF2-40B4-BE49-F238E27FC236}">
                <a16:creationId xmlns:a16="http://schemas.microsoft.com/office/drawing/2014/main" id="{92C5CFE7-CE8F-4702-8E55-7CC07F0F9E87}"/>
              </a:ext>
            </a:extLst>
          </p:cNvPr>
          <p:cNvGrpSpPr/>
          <p:nvPr/>
        </p:nvGrpSpPr>
        <p:grpSpPr>
          <a:xfrm>
            <a:off x="2978593" y="1293858"/>
            <a:ext cx="674497" cy="640080"/>
            <a:chOff x="6207157" y="838366"/>
            <a:chExt cx="674497" cy="783222"/>
          </a:xfrm>
        </p:grpSpPr>
        <p:sp>
          <p:nvSpPr>
            <p:cNvPr id="41" name="Yellow Q Box">
              <a:extLst>
                <a:ext uri="{FF2B5EF4-FFF2-40B4-BE49-F238E27FC236}">
                  <a16:creationId xmlns:a16="http://schemas.microsoft.com/office/drawing/2014/main" id="{ED21D1F0-B2A0-4647-86BC-450146A92C74}"/>
                </a:ext>
              </a:extLst>
            </p:cNvPr>
            <p:cNvSpPr/>
            <p:nvPr/>
          </p:nvSpPr>
          <p:spPr>
            <a:xfrm>
              <a:off x="6207157" y="838366"/>
              <a:ext cx="662179" cy="783222"/>
            </a:xfrm>
            <a:custGeom>
              <a:avLst/>
              <a:gdLst>
                <a:gd name="connsiteX0" fmla="*/ 662179 w 662178"/>
                <a:gd name="connsiteY0" fmla="*/ 783222 h 783222"/>
                <a:gd name="connsiteX1" fmla="*/ 0 w 662178"/>
                <a:gd name="connsiteY1" fmla="*/ 783222 h 783222"/>
                <a:gd name="connsiteX2" fmla="*/ 0 w 662178"/>
                <a:gd name="connsiteY2" fmla="*/ 0 h 783222"/>
                <a:gd name="connsiteX3" fmla="*/ 583785 w 662178"/>
                <a:gd name="connsiteY3" fmla="*/ 0 h 783222"/>
                <a:gd name="connsiteX4" fmla="*/ 662179 w 662178"/>
                <a:gd name="connsiteY4" fmla="*/ 78393 h 783222"/>
                <a:gd name="connsiteX5" fmla="*/ 662179 w 662178"/>
                <a:gd name="connsiteY5" fmla="*/ 783222 h 783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2178" h="783222">
                  <a:moveTo>
                    <a:pt x="662179" y="783222"/>
                  </a:moveTo>
                  <a:lnTo>
                    <a:pt x="0" y="783222"/>
                  </a:lnTo>
                  <a:lnTo>
                    <a:pt x="0" y="0"/>
                  </a:lnTo>
                  <a:lnTo>
                    <a:pt x="583785" y="0"/>
                  </a:lnTo>
                  <a:cubicBezTo>
                    <a:pt x="627076" y="0"/>
                    <a:pt x="662179" y="35103"/>
                    <a:pt x="662179" y="78393"/>
                  </a:cubicBezTo>
                  <a:lnTo>
                    <a:pt x="662179" y="783222"/>
                  </a:lnTo>
                  <a:close/>
                </a:path>
              </a:pathLst>
            </a:custGeom>
            <a:solidFill>
              <a:srgbClr val="FAA726"/>
            </a:solidFill>
            <a:ln w="71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42" name="Yellow Heading">
              <a:extLst>
                <a:ext uri="{FF2B5EF4-FFF2-40B4-BE49-F238E27FC236}">
                  <a16:creationId xmlns:a16="http://schemas.microsoft.com/office/drawing/2014/main" id="{76AADBF3-0405-484C-BC27-E6534086F46E}"/>
                </a:ext>
              </a:extLst>
            </p:cNvPr>
            <p:cNvSpPr/>
            <p:nvPr/>
          </p:nvSpPr>
          <p:spPr>
            <a:xfrm>
              <a:off x="6219475" y="983380"/>
              <a:ext cx="662179" cy="46666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07000"/>
                </a:lnSpc>
                <a:spcAft>
                  <a:spcPts val="200"/>
                </a:spcAft>
              </a:pPr>
              <a:r>
                <a:rPr lang="en-US" sz="2400" b="1" dirty="0">
                  <a:solidFill>
                    <a:schemeClr val="bg1"/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Q1</a:t>
              </a:r>
              <a:endPara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43" name="Yellow Q">
            <a:extLst>
              <a:ext uri="{FF2B5EF4-FFF2-40B4-BE49-F238E27FC236}">
                <a16:creationId xmlns:a16="http://schemas.microsoft.com/office/drawing/2014/main" id="{638710FF-4897-4501-AAF4-9F1FBEF246FD}"/>
              </a:ext>
            </a:extLst>
          </p:cNvPr>
          <p:cNvSpPr txBox="1"/>
          <p:nvPr/>
        </p:nvSpPr>
        <p:spPr>
          <a:xfrm>
            <a:off x="3624858" y="1380565"/>
            <a:ext cx="5735041" cy="466667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200"/>
              </a:spcAft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void shuffling as much as possible</a:t>
            </a:r>
          </a:p>
        </p:txBody>
      </p:sp>
      <p:grpSp>
        <p:nvGrpSpPr>
          <p:cNvPr id="44" name="Yellow Ans Box">
            <a:extLst>
              <a:ext uri="{FF2B5EF4-FFF2-40B4-BE49-F238E27FC236}">
                <a16:creationId xmlns:a16="http://schemas.microsoft.com/office/drawing/2014/main" id="{4F2EB5D8-1329-45E7-AA63-956C352BBBA2}"/>
              </a:ext>
            </a:extLst>
          </p:cNvPr>
          <p:cNvGrpSpPr/>
          <p:nvPr/>
        </p:nvGrpSpPr>
        <p:grpSpPr>
          <a:xfrm>
            <a:off x="2978592" y="1917972"/>
            <a:ext cx="6643640" cy="747621"/>
            <a:chOff x="6207157" y="1593107"/>
            <a:chExt cx="6643640" cy="747621"/>
          </a:xfrm>
        </p:grpSpPr>
        <p:grpSp>
          <p:nvGrpSpPr>
            <p:cNvPr id="45" name="Yellow Ans Box">
              <a:extLst>
                <a:ext uri="{FF2B5EF4-FFF2-40B4-BE49-F238E27FC236}">
                  <a16:creationId xmlns:a16="http://schemas.microsoft.com/office/drawing/2014/main" id="{C55E2136-11C1-4982-8A2F-ECB5F26E3F39}"/>
                </a:ext>
              </a:extLst>
            </p:cNvPr>
            <p:cNvGrpSpPr/>
            <p:nvPr/>
          </p:nvGrpSpPr>
          <p:grpSpPr>
            <a:xfrm>
              <a:off x="6207157" y="1593107"/>
              <a:ext cx="6643640" cy="747621"/>
              <a:chOff x="6207157" y="1593107"/>
              <a:chExt cx="6643640" cy="747621"/>
            </a:xfrm>
            <a:solidFill>
              <a:schemeClr val="accent1"/>
            </a:solidFill>
          </p:grpSpPr>
          <p:sp>
            <p:nvSpPr>
              <p:cNvPr id="47" name="Freeform: Shape 30">
                <a:extLst>
                  <a:ext uri="{FF2B5EF4-FFF2-40B4-BE49-F238E27FC236}">
                    <a16:creationId xmlns:a16="http://schemas.microsoft.com/office/drawing/2014/main" id="{5129140C-5F20-4A87-BBA9-AEF6573B8366}"/>
                  </a:ext>
                </a:extLst>
              </p:cNvPr>
              <p:cNvSpPr/>
              <p:nvPr/>
            </p:nvSpPr>
            <p:spPr>
              <a:xfrm>
                <a:off x="6221397" y="1607348"/>
                <a:ext cx="6629400" cy="719140"/>
              </a:xfrm>
              <a:custGeom>
                <a:avLst/>
                <a:gdLst>
                  <a:gd name="connsiteX0" fmla="*/ 0 w 5596478"/>
                  <a:gd name="connsiteY0" fmla="*/ 719140 h 719140"/>
                  <a:gd name="connsiteX1" fmla="*/ 0 w 5596478"/>
                  <a:gd name="connsiteY1" fmla="*/ 0 h 719140"/>
                  <a:gd name="connsiteX2" fmla="*/ 5516162 w 5596478"/>
                  <a:gd name="connsiteY2" fmla="*/ 0 h 719140"/>
                  <a:gd name="connsiteX3" fmla="*/ 5596478 w 5596478"/>
                  <a:gd name="connsiteY3" fmla="*/ 80316 h 719140"/>
                  <a:gd name="connsiteX4" fmla="*/ 5596478 w 5596478"/>
                  <a:gd name="connsiteY4" fmla="*/ 638825 h 719140"/>
                  <a:gd name="connsiteX5" fmla="*/ 5516162 w 5596478"/>
                  <a:gd name="connsiteY5" fmla="*/ 719140 h 719140"/>
                  <a:gd name="connsiteX6" fmla="*/ 0 w 5596478"/>
                  <a:gd name="connsiteY6" fmla="*/ 719140 h 719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6478" h="719140">
                    <a:moveTo>
                      <a:pt x="0" y="719140"/>
                    </a:moveTo>
                    <a:lnTo>
                      <a:pt x="0" y="0"/>
                    </a:lnTo>
                    <a:lnTo>
                      <a:pt x="5516162" y="0"/>
                    </a:lnTo>
                    <a:cubicBezTo>
                      <a:pt x="5560450" y="0"/>
                      <a:pt x="5596478" y="36028"/>
                      <a:pt x="5596478" y="80316"/>
                    </a:cubicBezTo>
                    <a:lnTo>
                      <a:pt x="5596478" y="638825"/>
                    </a:lnTo>
                    <a:cubicBezTo>
                      <a:pt x="5596478" y="683112"/>
                      <a:pt x="5560450" y="719140"/>
                      <a:pt x="5516162" y="719140"/>
                    </a:cubicBezTo>
                    <a:lnTo>
                      <a:pt x="0" y="719140"/>
                    </a:lnTo>
                    <a:close/>
                  </a:path>
                </a:pathLst>
              </a:custGeom>
              <a:solidFill>
                <a:srgbClr val="FFFFFF"/>
              </a:solidFill>
              <a:ln w="71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/>
              </a:p>
            </p:txBody>
          </p:sp>
          <p:sp>
            <p:nvSpPr>
              <p:cNvPr id="48" name="Freeform: Shape 31">
                <a:extLst>
                  <a:ext uri="{FF2B5EF4-FFF2-40B4-BE49-F238E27FC236}">
                    <a16:creationId xmlns:a16="http://schemas.microsoft.com/office/drawing/2014/main" id="{896E92E2-BF44-4D07-BB49-2D519817A999}"/>
                  </a:ext>
                </a:extLst>
              </p:cNvPr>
              <p:cNvSpPr/>
              <p:nvPr/>
            </p:nvSpPr>
            <p:spPr>
              <a:xfrm>
                <a:off x="6207157" y="1593107"/>
                <a:ext cx="6628748" cy="747621"/>
              </a:xfrm>
              <a:custGeom>
                <a:avLst/>
                <a:gdLst>
                  <a:gd name="connsiteX0" fmla="*/ 5530403 w 5624959"/>
                  <a:gd name="connsiteY0" fmla="*/ 28481 h 747621"/>
                  <a:gd name="connsiteX1" fmla="*/ 5596478 w 5624959"/>
                  <a:gd name="connsiteY1" fmla="*/ 94556 h 747621"/>
                  <a:gd name="connsiteX2" fmla="*/ 5596478 w 5624959"/>
                  <a:gd name="connsiteY2" fmla="*/ 653065 h 747621"/>
                  <a:gd name="connsiteX3" fmla="*/ 5530403 w 5624959"/>
                  <a:gd name="connsiteY3" fmla="*/ 719140 h 747621"/>
                  <a:gd name="connsiteX4" fmla="*/ 28481 w 5624959"/>
                  <a:gd name="connsiteY4" fmla="*/ 719140 h 747621"/>
                  <a:gd name="connsiteX5" fmla="*/ 28481 w 5624959"/>
                  <a:gd name="connsiteY5" fmla="*/ 28481 h 747621"/>
                  <a:gd name="connsiteX6" fmla="*/ 5530403 w 5624959"/>
                  <a:gd name="connsiteY6" fmla="*/ 28481 h 747621"/>
                  <a:gd name="connsiteX7" fmla="*/ 5530403 w 5624959"/>
                  <a:gd name="connsiteY7" fmla="*/ 0 h 747621"/>
                  <a:gd name="connsiteX8" fmla="*/ 28481 w 5624959"/>
                  <a:gd name="connsiteY8" fmla="*/ 0 h 747621"/>
                  <a:gd name="connsiteX9" fmla="*/ 0 w 5624959"/>
                  <a:gd name="connsiteY9" fmla="*/ 0 h 747621"/>
                  <a:gd name="connsiteX10" fmla="*/ 0 w 5624959"/>
                  <a:gd name="connsiteY10" fmla="*/ 28481 h 747621"/>
                  <a:gd name="connsiteX11" fmla="*/ 0 w 5624959"/>
                  <a:gd name="connsiteY11" fmla="*/ 719140 h 747621"/>
                  <a:gd name="connsiteX12" fmla="*/ 0 w 5624959"/>
                  <a:gd name="connsiteY12" fmla="*/ 747621 h 747621"/>
                  <a:gd name="connsiteX13" fmla="*/ 28481 w 5624959"/>
                  <a:gd name="connsiteY13" fmla="*/ 747621 h 747621"/>
                  <a:gd name="connsiteX14" fmla="*/ 5530403 w 5624959"/>
                  <a:gd name="connsiteY14" fmla="*/ 747621 h 747621"/>
                  <a:gd name="connsiteX15" fmla="*/ 5624959 w 5624959"/>
                  <a:gd name="connsiteY15" fmla="*/ 653065 h 747621"/>
                  <a:gd name="connsiteX16" fmla="*/ 5624959 w 5624959"/>
                  <a:gd name="connsiteY16" fmla="*/ 94556 h 747621"/>
                  <a:gd name="connsiteX17" fmla="*/ 5530403 w 5624959"/>
                  <a:gd name="connsiteY17" fmla="*/ 0 h 747621"/>
                  <a:gd name="connsiteX18" fmla="*/ 5530403 w 5624959"/>
                  <a:gd name="connsiteY18" fmla="*/ 0 h 747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24959" h="747621">
                    <a:moveTo>
                      <a:pt x="5530403" y="28481"/>
                    </a:moveTo>
                    <a:cubicBezTo>
                      <a:pt x="5566859" y="28481"/>
                      <a:pt x="5596478" y="58030"/>
                      <a:pt x="5596478" y="94556"/>
                    </a:cubicBezTo>
                    <a:lnTo>
                      <a:pt x="5596478" y="653065"/>
                    </a:lnTo>
                    <a:cubicBezTo>
                      <a:pt x="5596478" y="689520"/>
                      <a:pt x="5566929" y="719140"/>
                      <a:pt x="5530403" y="719140"/>
                    </a:cubicBezTo>
                    <a:lnTo>
                      <a:pt x="28481" y="719140"/>
                    </a:lnTo>
                    <a:lnTo>
                      <a:pt x="28481" y="28481"/>
                    </a:lnTo>
                    <a:lnTo>
                      <a:pt x="5530403" y="28481"/>
                    </a:lnTo>
                    <a:moveTo>
                      <a:pt x="5530403" y="0"/>
                    </a:moveTo>
                    <a:lnTo>
                      <a:pt x="28481" y="0"/>
                    </a:lnTo>
                    <a:lnTo>
                      <a:pt x="0" y="0"/>
                    </a:lnTo>
                    <a:lnTo>
                      <a:pt x="0" y="28481"/>
                    </a:lnTo>
                    <a:lnTo>
                      <a:pt x="0" y="719140"/>
                    </a:lnTo>
                    <a:lnTo>
                      <a:pt x="0" y="747621"/>
                    </a:lnTo>
                    <a:lnTo>
                      <a:pt x="28481" y="747621"/>
                    </a:lnTo>
                    <a:lnTo>
                      <a:pt x="5530403" y="747621"/>
                    </a:lnTo>
                    <a:cubicBezTo>
                      <a:pt x="5582523" y="747621"/>
                      <a:pt x="5624959" y="705185"/>
                      <a:pt x="5624959" y="653065"/>
                    </a:cubicBezTo>
                    <a:lnTo>
                      <a:pt x="5624959" y="94556"/>
                    </a:lnTo>
                    <a:cubicBezTo>
                      <a:pt x="5624959" y="42436"/>
                      <a:pt x="5582523" y="0"/>
                      <a:pt x="5530403" y="0"/>
                    </a:cubicBezTo>
                    <a:lnTo>
                      <a:pt x="5530403" y="0"/>
                    </a:lnTo>
                    <a:close/>
                  </a:path>
                </a:pathLst>
              </a:custGeom>
              <a:solidFill>
                <a:srgbClr val="FAA726"/>
              </a:solidFill>
              <a:ln w="71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/>
              </a:p>
            </p:txBody>
          </p:sp>
        </p:grpSp>
        <p:sp>
          <p:nvSpPr>
            <p:cNvPr id="46" name="Yellow Heading">
              <a:extLst>
                <a:ext uri="{FF2B5EF4-FFF2-40B4-BE49-F238E27FC236}">
                  <a16:creationId xmlns:a16="http://schemas.microsoft.com/office/drawing/2014/main" id="{64AA4C5D-CD26-42BE-9F39-E6D31DF3FE13}"/>
                </a:ext>
              </a:extLst>
            </p:cNvPr>
            <p:cNvSpPr/>
            <p:nvPr/>
          </p:nvSpPr>
          <p:spPr>
            <a:xfrm>
              <a:off x="6285532" y="1729782"/>
              <a:ext cx="561769" cy="46666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07000"/>
                </a:lnSpc>
                <a:spcAft>
                  <a:spcPts val="200"/>
                </a:spcAft>
              </a:pPr>
              <a:r>
                <a:rPr lang="en-US" sz="2400" b="1" dirty="0">
                  <a:solidFill>
                    <a:srgbClr val="F4AB35"/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A:</a:t>
              </a:r>
              <a:endParaRPr lang="en-IN" sz="2400" b="1" dirty="0">
                <a:solidFill>
                  <a:srgbClr val="F4AB3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49" name="Yellow A">
            <a:extLst>
              <a:ext uri="{FF2B5EF4-FFF2-40B4-BE49-F238E27FC236}">
                <a16:creationId xmlns:a16="http://schemas.microsoft.com/office/drawing/2014/main" id="{46478925-5EFA-4223-A546-9DB8D8A3B9D9}"/>
              </a:ext>
            </a:extLst>
          </p:cNvPr>
          <p:cNvSpPr txBox="1"/>
          <p:nvPr/>
        </p:nvSpPr>
        <p:spPr>
          <a:xfrm>
            <a:off x="3624859" y="1916730"/>
            <a:ext cx="5747741" cy="747621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200"/>
              </a:spcAft>
            </a:pP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uffling leads to stages. At the stage boundary, data is stored in the disk to be fault-tolerant</a:t>
            </a:r>
          </a:p>
        </p:txBody>
      </p:sp>
      <p:sp>
        <p:nvSpPr>
          <p:cNvPr id="50" name="Grey Q">
            <a:extLst>
              <a:ext uri="{FF2B5EF4-FFF2-40B4-BE49-F238E27FC236}">
                <a16:creationId xmlns:a16="http://schemas.microsoft.com/office/drawing/2014/main" id="{74F71412-74E6-4563-ABD9-4A9B9B05C479}"/>
              </a:ext>
            </a:extLst>
          </p:cNvPr>
          <p:cNvSpPr txBox="1"/>
          <p:nvPr/>
        </p:nvSpPr>
        <p:spPr>
          <a:xfrm>
            <a:off x="3624858" y="4333346"/>
            <a:ext cx="5735041" cy="466667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200"/>
              </a:spcAft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ialisation and deserialisation</a:t>
            </a:r>
          </a:p>
        </p:txBody>
      </p:sp>
      <p:sp>
        <p:nvSpPr>
          <p:cNvPr id="51" name="Sklyblue A">
            <a:extLst>
              <a:ext uri="{FF2B5EF4-FFF2-40B4-BE49-F238E27FC236}">
                <a16:creationId xmlns:a16="http://schemas.microsoft.com/office/drawing/2014/main" id="{C9000DE2-F44E-4CBF-8E79-BC5E89E2FDA5}"/>
              </a:ext>
            </a:extLst>
          </p:cNvPr>
          <p:cNvSpPr txBox="1"/>
          <p:nvPr/>
        </p:nvSpPr>
        <p:spPr>
          <a:xfrm>
            <a:off x="3624859" y="4851680"/>
            <a:ext cx="5747741" cy="747621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200"/>
              </a:spcAft>
            </a:pP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ses serialised memory storage and cached data in a serialised form using the Kryo algorithm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1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1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1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1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33" grpId="0"/>
      <p:bldP spid="39" grpId="0"/>
      <p:bldP spid="43" grpId="0"/>
      <p:bldP spid="49" grpId="0"/>
      <p:bldP spid="50" grpId="0"/>
      <p:bldP spid="5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een Point">
            <a:extLst>
              <a:ext uri="{FF2B5EF4-FFF2-40B4-BE49-F238E27FC236}">
                <a16:creationId xmlns:a16="http://schemas.microsoft.com/office/drawing/2014/main" id="{4FC4CB3B-EF11-4933-9DC6-CC4A11889B08}"/>
              </a:ext>
            </a:extLst>
          </p:cNvPr>
          <p:cNvGrpSpPr/>
          <p:nvPr/>
        </p:nvGrpSpPr>
        <p:grpSpPr>
          <a:xfrm>
            <a:off x="2640563" y="5013176"/>
            <a:ext cx="6910875" cy="1134001"/>
            <a:chOff x="6389225" y="1006997"/>
            <a:chExt cx="4726281" cy="775532"/>
          </a:xfrm>
        </p:grpSpPr>
        <p:sp>
          <p:nvSpPr>
            <p:cNvPr id="55" name="Rectangle: Rounded Corners 8">
              <a:extLst>
                <a:ext uri="{FF2B5EF4-FFF2-40B4-BE49-F238E27FC236}">
                  <a16:creationId xmlns:a16="http://schemas.microsoft.com/office/drawing/2014/main" id="{A31B4D0E-C50D-4315-A387-58ED54BF3401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44233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12270" y="4685"/>
                    <a:pt x="244233" y="4685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CE6EC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Rectangle: Rounded Corners 8">
              <a:extLst>
                <a:ext uri="{FF2B5EF4-FFF2-40B4-BE49-F238E27FC236}">
                  <a16:creationId xmlns:a16="http://schemas.microsoft.com/office/drawing/2014/main" id="{5AB32E59-0EC8-4FF9-86E0-576742D9F4D5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409A6947-1B22-4B22-9137-D1310275309F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6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58" name="Yellow Q">
              <a:extLst>
                <a:ext uri="{FF2B5EF4-FFF2-40B4-BE49-F238E27FC236}">
                  <a16:creationId xmlns:a16="http://schemas.microsoft.com/office/drawing/2014/main" id="{F175F79B-690C-4E39-BED3-DFDFEC639A88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ORC</a:t>
              </a:r>
            </a:p>
          </p:txBody>
        </p:sp>
      </p:grpSp>
      <p:grpSp>
        <p:nvGrpSpPr>
          <p:cNvPr id="59" name="Grey Point">
            <a:extLst>
              <a:ext uri="{FF2B5EF4-FFF2-40B4-BE49-F238E27FC236}">
                <a16:creationId xmlns:a16="http://schemas.microsoft.com/office/drawing/2014/main" id="{47B9251E-A2B4-4E29-9A83-E7125C93B658}"/>
              </a:ext>
            </a:extLst>
          </p:cNvPr>
          <p:cNvGrpSpPr/>
          <p:nvPr/>
        </p:nvGrpSpPr>
        <p:grpSpPr>
          <a:xfrm>
            <a:off x="2640563" y="3706359"/>
            <a:ext cx="6910875" cy="1134001"/>
            <a:chOff x="6389225" y="1006997"/>
            <a:chExt cx="4726281" cy="775532"/>
          </a:xfrm>
        </p:grpSpPr>
        <p:sp>
          <p:nvSpPr>
            <p:cNvPr id="60" name="Rectangle: Rounded Corners 8">
              <a:extLst>
                <a:ext uri="{FF2B5EF4-FFF2-40B4-BE49-F238E27FC236}">
                  <a16:creationId xmlns:a16="http://schemas.microsoft.com/office/drawing/2014/main" id="{4B0CB956-EE09-46C9-B3E5-78DE7A4D828D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32581 w 4726281"/>
                <a:gd name="connsiteY1" fmla="*/ 3056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00618" y="3056"/>
                    <a:pt x="232581" y="3056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0EC1C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Rectangle: Rounded Corners 8">
              <a:extLst>
                <a:ext uri="{FF2B5EF4-FFF2-40B4-BE49-F238E27FC236}">
                  <a16:creationId xmlns:a16="http://schemas.microsoft.com/office/drawing/2014/main" id="{8C1CDB56-87D1-44B6-B833-8A08E07A752A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0B74684E-AE26-4E32-A00F-07428EF2A310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5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3" name="Yellow Q">
              <a:extLst>
                <a:ext uri="{FF2B5EF4-FFF2-40B4-BE49-F238E27FC236}">
                  <a16:creationId xmlns:a16="http://schemas.microsoft.com/office/drawing/2014/main" id="{F2BC1C45-CFF9-4C32-8F35-1A90A40219A7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Parquet</a:t>
              </a:r>
            </a:p>
          </p:txBody>
        </p:sp>
      </p:grpSp>
      <p:sp>
        <p:nvSpPr>
          <p:cNvPr id="33" name="Heading">
            <a:extLst>
              <a:ext uri="{FF2B5EF4-FFF2-40B4-BE49-F238E27FC236}">
                <a16:creationId xmlns:a16="http://schemas.microsoft.com/office/drawing/2014/main" id="{58E94D29-AFC3-4C21-B2B5-2ABE4A12A5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SING VARIOUS FILE FORMATS IN SPARK</a:t>
            </a:r>
          </a:p>
        </p:txBody>
      </p:sp>
      <p:grpSp>
        <p:nvGrpSpPr>
          <p:cNvPr id="34" name="Green Point">
            <a:extLst>
              <a:ext uri="{FF2B5EF4-FFF2-40B4-BE49-F238E27FC236}">
                <a16:creationId xmlns:a16="http://schemas.microsoft.com/office/drawing/2014/main" id="{4444A39E-6BA2-4E0A-BBE6-707D21741ED7}"/>
              </a:ext>
            </a:extLst>
          </p:cNvPr>
          <p:cNvGrpSpPr/>
          <p:nvPr/>
        </p:nvGrpSpPr>
        <p:grpSpPr>
          <a:xfrm>
            <a:off x="2640563" y="5013176"/>
            <a:ext cx="6910875" cy="1134001"/>
            <a:chOff x="6389225" y="1006997"/>
            <a:chExt cx="4726281" cy="775532"/>
          </a:xfrm>
        </p:grpSpPr>
        <p:sp>
          <p:nvSpPr>
            <p:cNvPr id="35" name="Rectangle: Rounded Corners 8">
              <a:extLst>
                <a:ext uri="{FF2B5EF4-FFF2-40B4-BE49-F238E27FC236}">
                  <a16:creationId xmlns:a16="http://schemas.microsoft.com/office/drawing/2014/main" id="{C1272E0A-4A80-452C-ACEA-BB539CED1F6F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44233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12270" y="4685"/>
                    <a:pt x="244233" y="4685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23AE7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Rectangle: Rounded Corners 8">
              <a:extLst>
                <a:ext uri="{FF2B5EF4-FFF2-40B4-BE49-F238E27FC236}">
                  <a16:creationId xmlns:a16="http://schemas.microsoft.com/office/drawing/2014/main" id="{CE2E4241-4019-45E7-B1B8-208479E48F05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F8104C1-2464-4B02-9A04-A1C5DFF61487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4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8" name="Yellow Q">
              <a:extLst>
                <a:ext uri="{FF2B5EF4-FFF2-40B4-BE49-F238E27FC236}">
                  <a16:creationId xmlns:a16="http://schemas.microsoft.com/office/drawing/2014/main" id="{449C7F46-C102-43C5-AC22-714CA3FD3959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.avro</a:t>
              </a:r>
            </a:p>
          </p:txBody>
        </p:sp>
      </p:grpSp>
      <p:grpSp>
        <p:nvGrpSpPr>
          <p:cNvPr id="39" name="Grey Point">
            <a:extLst>
              <a:ext uri="{FF2B5EF4-FFF2-40B4-BE49-F238E27FC236}">
                <a16:creationId xmlns:a16="http://schemas.microsoft.com/office/drawing/2014/main" id="{FF9B26A3-A12C-4F53-8C68-2EEC3FFB0061}"/>
              </a:ext>
            </a:extLst>
          </p:cNvPr>
          <p:cNvGrpSpPr/>
          <p:nvPr/>
        </p:nvGrpSpPr>
        <p:grpSpPr>
          <a:xfrm>
            <a:off x="2640563" y="3706359"/>
            <a:ext cx="6910875" cy="1134001"/>
            <a:chOff x="6389225" y="1006997"/>
            <a:chExt cx="4726281" cy="775532"/>
          </a:xfrm>
        </p:grpSpPr>
        <p:sp>
          <p:nvSpPr>
            <p:cNvPr id="40" name="Rectangle: Rounded Corners 8">
              <a:extLst>
                <a:ext uri="{FF2B5EF4-FFF2-40B4-BE49-F238E27FC236}">
                  <a16:creationId xmlns:a16="http://schemas.microsoft.com/office/drawing/2014/main" id="{B324ECED-E419-4E79-9BFA-4BA3182C19CD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32581 w 4726281"/>
                <a:gd name="connsiteY1" fmla="*/ 3056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00618" y="3056"/>
                    <a:pt x="232581" y="3056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5A5A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Rectangle: Rounded Corners 8">
              <a:extLst>
                <a:ext uri="{FF2B5EF4-FFF2-40B4-BE49-F238E27FC236}">
                  <a16:creationId xmlns:a16="http://schemas.microsoft.com/office/drawing/2014/main" id="{881C8282-A216-4274-8F43-911239E5E193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6151473-F8F9-4165-AF79-F0672553DEC7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3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3" name="Yellow Q">
              <a:extLst>
                <a:ext uri="{FF2B5EF4-FFF2-40B4-BE49-F238E27FC236}">
                  <a16:creationId xmlns:a16="http://schemas.microsoft.com/office/drawing/2014/main" id="{8A14EDD3-AF94-4991-BDB8-19366EE6D757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.json</a:t>
              </a:r>
            </a:p>
          </p:txBody>
        </p:sp>
      </p:grpSp>
      <p:grpSp>
        <p:nvGrpSpPr>
          <p:cNvPr id="44" name="Blue Point">
            <a:extLst>
              <a:ext uri="{FF2B5EF4-FFF2-40B4-BE49-F238E27FC236}">
                <a16:creationId xmlns:a16="http://schemas.microsoft.com/office/drawing/2014/main" id="{9241150C-FF74-4115-8436-6A46DD662B0F}"/>
              </a:ext>
            </a:extLst>
          </p:cNvPr>
          <p:cNvGrpSpPr/>
          <p:nvPr/>
        </p:nvGrpSpPr>
        <p:grpSpPr>
          <a:xfrm>
            <a:off x="2640563" y="2399540"/>
            <a:ext cx="6910875" cy="1134002"/>
            <a:chOff x="6389225" y="1006997"/>
            <a:chExt cx="4726281" cy="775533"/>
          </a:xfrm>
        </p:grpSpPr>
        <p:sp>
          <p:nvSpPr>
            <p:cNvPr id="45" name="Rectangle: Rounded Corners 8">
              <a:extLst>
                <a:ext uri="{FF2B5EF4-FFF2-40B4-BE49-F238E27FC236}">
                  <a16:creationId xmlns:a16="http://schemas.microsoft.com/office/drawing/2014/main" id="{1BDC64CD-1D53-468B-A6B5-13AA5DC77BB8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8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104464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44233 w 4726281"/>
                <a:gd name="connsiteY1" fmla="*/ 3057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12270" y="3057"/>
                    <a:pt x="244233" y="3057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4890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Rectangle: Rounded Corners 8">
              <a:extLst>
                <a:ext uri="{FF2B5EF4-FFF2-40B4-BE49-F238E27FC236}">
                  <a16:creationId xmlns:a16="http://schemas.microsoft.com/office/drawing/2014/main" id="{01E63C06-C5A5-48DB-B86B-37EFB2535581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09883EB3-321A-481F-A532-072919ED281C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2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8" name="Yellow Q">
              <a:extLst>
                <a:ext uri="{FF2B5EF4-FFF2-40B4-BE49-F238E27FC236}">
                  <a16:creationId xmlns:a16="http://schemas.microsoft.com/office/drawing/2014/main" id="{AC217B3B-8C6E-45B2-B747-031AE26BDAA6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.csv</a:t>
              </a:r>
            </a:p>
          </p:txBody>
        </p:sp>
      </p:grpSp>
      <p:grpSp>
        <p:nvGrpSpPr>
          <p:cNvPr id="49" name="Yellow Point">
            <a:extLst>
              <a:ext uri="{FF2B5EF4-FFF2-40B4-BE49-F238E27FC236}">
                <a16:creationId xmlns:a16="http://schemas.microsoft.com/office/drawing/2014/main" id="{D2F57725-041D-404D-856D-EF6C8BD0FE0C}"/>
              </a:ext>
            </a:extLst>
          </p:cNvPr>
          <p:cNvGrpSpPr/>
          <p:nvPr/>
        </p:nvGrpSpPr>
        <p:grpSpPr>
          <a:xfrm>
            <a:off x="2640563" y="1092722"/>
            <a:ext cx="6910875" cy="1134001"/>
            <a:chOff x="6389225" y="1006997"/>
            <a:chExt cx="4726281" cy="775532"/>
          </a:xfrm>
        </p:grpSpPr>
        <p:sp>
          <p:nvSpPr>
            <p:cNvPr id="50" name="Rectangle: Rounded Corners 8">
              <a:extLst>
                <a:ext uri="{FF2B5EF4-FFF2-40B4-BE49-F238E27FC236}">
                  <a16:creationId xmlns:a16="http://schemas.microsoft.com/office/drawing/2014/main" id="{E7CA3076-3476-44BC-A051-70567B0E8E17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09294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177331" y="4685"/>
                    <a:pt x="209294" y="4685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F4AB3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Rectangle: Rounded Corners 8">
              <a:extLst>
                <a:ext uri="{FF2B5EF4-FFF2-40B4-BE49-F238E27FC236}">
                  <a16:creationId xmlns:a16="http://schemas.microsoft.com/office/drawing/2014/main" id="{000A369D-ACF2-449A-8F5C-A8D791777D7B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C5ED1C92-0DC3-4EA9-936D-25745C7A5A9C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1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53" name="Yellow Q">
              <a:extLst>
                <a:ext uri="{FF2B5EF4-FFF2-40B4-BE49-F238E27FC236}">
                  <a16:creationId xmlns:a16="http://schemas.microsoft.com/office/drawing/2014/main" id="{399BA6B6-A5AE-4FED-B0FD-8E5C2B886653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.txt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7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47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0.00834 L 0 -0.38357 " pathEditMode="relative" rAng="0" ptsTypes="AA">
                                      <p:cBhvr>
                                        <p:cTn id="45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8773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0.00417 L 0 -0.38079 " pathEditMode="relative" rAng="0" ptsTypes="AA">
                                      <p:cBhvr>
                                        <p:cTn id="47" dur="2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884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3" grpId="1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eading">
            <a:extLst>
              <a:ext uri="{FF2B5EF4-FFF2-40B4-BE49-F238E27FC236}">
                <a16:creationId xmlns:a16="http://schemas.microsoft.com/office/drawing/2014/main" id="{3BF9FFFB-125A-4A25-9171-E15B6DA47F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C FILE FORMAT</a:t>
            </a:r>
          </a:p>
        </p:txBody>
      </p:sp>
      <p:sp>
        <p:nvSpPr>
          <p:cNvPr id="5" name="Google Shape;455;p36">
            <a:extLst>
              <a:ext uri="{FF2B5EF4-FFF2-40B4-BE49-F238E27FC236}">
                <a16:creationId xmlns:a16="http://schemas.microsoft.com/office/drawing/2014/main" id="{7F1E709B-6D29-4968-AE01-B36E8DE6DA58}"/>
              </a:ext>
            </a:extLst>
          </p:cNvPr>
          <p:cNvSpPr txBox="1"/>
          <p:nvPr/>
        </p:nvSpPr>
        <p:spPr>
          <a:xfrm>
            <a:off x="1212189" y="872745"/>
            <a:ext cx="4896544" cy="5707203"/>
          </a:xfrm>
          <a:prstGeom prst="roundRect">
            <a:avLst>
              <a:gd name="adj" fmla="val 3804"/>
            </a:avLst>
          </a:prstGeom>
          <a:noFill/>
          <a:ln w="28575">
            <a:solidFill>
              <a:srgbClr val="F4AB35"/>
            </a:solidFill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pic>
        <p:nvPicPr>
          <p:cNvPr id="6" name="Google Shape;846;p53">
            <a:extLst>
              <a:ext uri="{FF2B5EF4-FFF2-40B4-BE49-F238E27FC236}">
                <a16:creationId xmlns:a16="http://schemas.microsoft.com/office/drawing/2014/main" id="{C5D03540-2523-407A-B0E7-D4FAF5FE4B92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697960" y="1102272"/>
            <a:ext cx="3925003" cy="5248149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455;p36">
            <a:extLst>
              <a:ext uri="{FF2B5EF4-FFF2-40B4-BE49-F238E27FC236}">
                <a16:creationId xmlns:a16="http://schemas.microsoft.com/office/drawing/2014/main" id="{F4BA79B4-728D-4129-9976-089E1F102C79}"/>
              </a:ext>
            </a:extLst>
          </p:cNvPr>
          <p:cNvSpPr txBox="1"/>
          <p:nvPr/>
        </p:nvSpPr>
        <p:spPr>
          <a:xfrm>
            <a:off x="6450015" y="2272568"/>
            <a:ext cx="4529797" cy="2907556"/>
          </a:xfrm>
          <a:prstGeom prst="roundRect">
            <a:avLst>
              <a:gd name="adj" fmla="val 7039"/>
            </a:avLst>
          </a:prstGeom>
          <a:noFill/>
          <a:ln w="9525">
            <a:solidFill>
              <a:schemeClr val="tx2">
                <a:lumMod val="50000"/>
              </a:schemeClr>
            </a:solidFill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marL="285750" indent="-285750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US" sz="1800" dirty="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rPr>
              <a:t>Used for both compressed and uncompressed storage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US" sz="1800" dirty="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rPr>
              <a:t>Stores a collection of rows in a file, and within a collection, it stores row data in a columnar format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US" sz="1800" dirty="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rPr>
              <a:t>Fast response time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US" sz="1800" dirty="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rPr>
              <a:t>Better when the original data is flat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US" sz="1800" dirty="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rPr>
              <a:t>Supports light weight index</a:t>
            </a:r>
          </a:p>
        </p:txBody>
      </p:sp>
    </p:spTree>
    <p:extLst>
      <p:ext uri="{BB962C8B-B14F-4D97-AF65-F5344CB8AC3E}">
        <p14:creationId xmlns:p14="http://schemas.microsoft.com/office/powerpoint/2010/main" val="21638400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7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5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  <p:bldP spid="5" grpId="0" animBg="1"/>
      <p:bldP spid="5" grpId="1" animBg="1"/>
      <p:bldP spid="7" grpId="0" build="p" animBg="1"/>
      <p:bldP spid="7" grpId="1" build="allAtOnce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eading">
            <a:extLst>
              <a:ext uri="{FF2B5EF4-FFF2-40B4-BE49-F238E27FC236}">
                <a16:creationId xmlns:a16="http://schemas.microsoft.com/office/drawing/2014/main" id="{3BF9FFFB-125A-4A25-9171-E15B6DA47F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QUET FILE FORMAT</a:t>
            </a:r>
          </a:p>
        </p:txBody>
      </p:sp>
      <p:sp>
        <p:nvSpPr>
          <p:cNvPr id="5" name="Google Shape;455;p36">
            <a:extLst>
              <a:ext uri="{FF2B5EF4-FFF2-40B4-BE49-F238E27FC236}">
                <a16:creationId xmlns:a16="http://schemas.microsoft.com/office/drawing/2014/main" id="{7F1E709B-6D29-4968-AE01-B36E8DE6DA58}"/>
              </a:ext>
            </a:extLst>
          </p:cNvPr>
          <p:cNvSpPr txBox="1"/>
          <p:nvPr/>
        </p:nvSpPr>
        <p:spPr>
          <a:xfrm>
            <a:off x="584692" y="1582394"/>
            <a:ext cx="6918325" cy="4287905"/>
          </a:xfrm>
          <a:prstGeom prst="roundRect">
            <a:avLst>
              <a:gd name="adj" fmla="val 3804"/>
            </a:avLst>
          </a:prstGeom>
          <a:noFill/>
          <a:ln w="28575">
            <a:solidFill>
              <a:srgbClr val="F4AB35"/>
            </a:solidFill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7" name="Google Shape;455;p36">
            <a:extLst>
              <a:ext uri="{FF2B5EF4-FFF2-40B4-BE49-F238E27FC236}">
                <a16:creationId xmlns:a16="http://schemas.microsoft.com/office/drawing/2014/main" id="{F4BA79B4-728D-4129-9976-089E1F102C79}"/>
              </a:ext>
            </a:extLst>
          </p:cNvPr>
          <p:cNvSpPr txBox="1"/>
          <p:nvPr/>
        </p:nvSpPr>
        <p:spPr>
          <a:xfrm>
            <a:off x="7849773" y="2404730"/>
            <a:ext cx="3713871" cy="2643233"/>
          </a:xfrm>
          <a:prstGeom prst="roundRect">
            <a:avLst>
              <a:gd name="adj" fmla="val 7039"/>
            </a:avLst>
          </a:prstGeom>
          <a:noFill/>
          <a:ln w="9525">
            <a:solidFill>
              <a:schemeClr val="tx2">
                <a:lumMod val="50000"/>
              </a:schemeClr>
            </a:solidFill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marL="285750" indent="-285750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US" sz="1800" dirty="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rPr>
              <a:t>Columnar storage - efficient compression storage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US" sz="1800" dirty="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rPr>
              <a:t>Metadata at the end of the file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US" sz="1800" dirty="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rPr>
              <a:t>Supported by all Apache big data products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US" sz="1800" dirty="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rPr>
              <a:t>Used in the case of nested data</a:t>
            </a:r>
          </a:p>
        </p:txBody>
      </p:sp>
      <p:pic>
        <p:nvPicPr>
          <p:cNvPr id="8" name="Google Shape;854;p54">
            <a:extLst>
              <a:ext uri="{FF2B5EF4-FFF2-40B4-BE49-F238E27FC236}">
                <a16:creationId xmlns:a16="http://schemas.microsoft.com/office/drawing/2014/main" id="{E6AD82CA-5259-4FB1-B535-A6DE781E0B7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03181" y="1889906"/>
            <a:ext cx="6481346" cy="36728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862912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  <p:bldP spid="5" grpId="0" animBg="1"/>
      <p:bldP spid="5" grpId="1" animBg="1"/>
      <p:bldP spid="7" grpId="0" build="p" animBg="1"/>
      <p:bldP spid="7" grpId="1" build="allAtOnce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" name="Grey Point">
            <a:extLst>
              <a:ext uri="{FF2B5EF4-FFF2-40B4-BE49-F238E27FC236}">
                <a16:creationId xmlns:a16="http://schemas.microsoft.com/office/drawing/2014/main" id="{47B9251E-A2B4-4E29-9A83-E7125C93B658}"/>
              </a:ext>
            </a:extLst>
          </p:cNvPr>
          <p:cNvGrpSpPr/>
          <p:nvPr/>
        </p:nvGrpSpPr>
        <p:grpSpPr>
          <a:xfrm>
            <a:off x="2640563" y="5013176"/>
            <a:ext cx="6910875" cy="1134001"/>
            <a:chOff x="6389225" y="1006997"/>
            <a:chExt cx="4726281" cy="775532"/>
          </a:xfrm>
        </p:grpSpPr>
        <p:sp>
          <p:nvSpPr>
            <p:cNvPr id="60" name="Rectangle: Rounded Corners 8">
              <a:extLst>
                <a:ext uri="{FF2B5EF4-FFF2-40B4-BE49-F238E27FC236}">
                  <a16:creationId xmlns:a16="http://schemas.microsoft.com/office/drawing/2014/main" id="{4B0CB956-EE09-46C9-B3E5-78DE7A4D828D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32581 w 4726281"/>
                <a:gd name="connsiteY1" fmla="*/ 3056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00618" y="3056"/>
                    <a:pt x="232581" y="3056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0EC1C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  <p:sp>
          <p:nvSpPr>
            <p:cNvPr id="61" name="Rectangle: Rounded Corners 8">
              <a:extLst>
                <a:ext uri="{FF2B5EF4-FFF2-40B4-BE49-F238E27FC236}">
                  <a16:creationId xmlns:a16="http://schemas.microsoft.com/office/drawing/2014/main" id="{8C1CDB56-87D1-44B6-B833-8A08E07A752A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0B74684E-AE26-4E32-A00F-07428EF2A310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Arial"/>
                </a:rPr>
                <a:t>05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Arial"/>
              </a:endParaRPr>
            </a:p>
          </p:txBody>
        </p:sp>
        <p:sp>
          <p:nvSpPr>
            <p:cNvPr id="63" name="Yellow Q">
              <a:extLst>
                <a:ext uri="{FF2B5EF4-FFF2-40B4-BE49-F238E27FC236}">
                  <a16:creationId xmlns:a16="http://schemas.microsoft.com/office/drawing/2014/main" id="{F2BC1C45-CFF9-4C32-8F35-1A90A40219A7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Advanced compression support</a:t>
              </a:r>
            </a:p>
          </p:txBody>
        </p:sp>
      </p:grpSp>
      <p:sp>
        <p:nvSpPr>
          <p:cNvPr id="33" name="Heading">
            <a:extLst>
              <a:ext uri="{FF2B5EF4-FFF2-40B4-BE49-F238E27FC236}">
                <a16:creationId xmlns:a16="http://schemas.microsoft.com/office/drawing/2014/main" id="{58E94D29-AFC3-4C21-B2B5-2ABE4A12A5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ACT OF CHOOSING A FILE FORMAT</a:t>
            </a:r>
          </a:p>
        </p:txBody>
      </p:sp>
      <p:grpSp>
        <p:nvGrpSpPr>
          <p:cNvPr id="34" name="Green Point">
            <a:extLst>
              <a:ext uri="{FF2B5EF4-FFF2-40B4-BE49-F238E27FC236}">
                <a16:creationId xmlns:a16="http://schemas.microsoft.com/office/drawing/2014/main" id="{4444A39E-6BA2-4E0A-BBE6-707D21741ED7}"/>
              </a:ext>
            </a:extLst>
          </p:cNvPr>
          <p:cNvGrpSpPr/>
          <p:nvPr/>
        </p:nvGrpSpPr>
        <p:grpSpPr>
          <a:xfrm>
            <a:off x="2640563" y="5013176"/>
            <a:ext cx="6910875" cy="1134001"/>
            <a:chOff x="6389225" y="1006997"/>
            <a:chExt cx="4726281" cy="775532"/>
          </a:xfrm>
        </p:grpSpPr>
        <p:sp>
          <p:nvSpPr>
            <p:cNvPr id="35" name="Rectangle: Rounded Corners 8">
              <a:extLst>
                <a:ext uri="{FF2B5EF4-FFF2-40B4-BE49-F238E27FC236}">
                  <a16:creationId xmlns:a16="http://schemas.microsoft.com/office/drawing/2014/main" id="{C1272E0A-4A80-452C-ACEA-BB539CED1F6F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44233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12270" y="4685"/>
                    <a:pt x="244233" y="4685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23AE7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  <p:sp>
          <p:nvSpPr>
            <p:cNvPr id="36" name="Rectangle: Rounded Corners 8">
              <a:extLst>
                <a:ext uri="{FF2B5EF4-FFF2-40B4-BE49-F238E27FC236}">
                  <a16:creationId xmlns:a16="http://schemas.microsoft.com/office/drawing/2014/main" id="{CE2E4241-4019-45E7-B1B8-208479E48F05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F8104C1-2464-4B02-9A04-A1C5DFF61487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Arial"/>
                </a:rPr>
                <a:t>04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Arial"/>
              </a:endParaRPr>
            </a:p>
          </p:txBody>
        </p:sp>
        <p:sp>
          <p:nvSpPr>
            <p:cNvPr id="38" name="Yellow Q">
              <a:extLst>
                <a:ext uri="{FF2B5EF4-FFF2-40B4-BE49-F238E27FC236}">
                  <a16:creationId xmlns:a16="http://schemas.microsoft.com/office/drawing/2014/main" id="{449C7F46-C102-43C5-AC22-714CA3FD3959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Schema evolution support</a:t>
              </a:r>
            </a:p>
          </p:txBody>
        </p:sp>
      </p:grpSp>
      <p:grpSp>
        <p:nvGrpSpPr>
          <p:cNvPr id="39" name="Grey Point">
            <a:extLst>
              <a:ext uri="{FF2B5EF4-FFF2-40B4-BE49-F238E27FC236}">
                <a16:creationId xmlns:a16="http://schemas.microsoft.com/office/drawing/2014/main" id="{FF9B26A3-A12C-4F53-8C68-2EEC3FFB0061}"/>
              </a:ext>
            </a:extLst>
          </p:cNvPr>
          <p:cNvGrpSpPr/>
          <p:nvPr/>
        </p:nvGrpSpPr>
        <p:grpSpPr>
          <a:xfrm>
            <a:off x="2640563" y="3706359"/>
            <a:ext cx="6910875" cy="1134001"/>
            <a:chOff x="6389225" y="1006997"/>
            <a:chExt cx="4726281" cy="775532"/>
          </a:xfrm>
        </p:grpSpPr>
        <p:sp>
          <p:nvSpPr>
            <p:cNvPr id="40" name="Rectangle: Rounded Corners 8">
              <a:extLst>
                <a:ext uri="{FF2B5EF4-FFF2-40B4-BE49-F238E27FC236}">
                  <a16:creationId xmlns:a16="http://schemas.microsoft.com/office/drawing/2014/main" id="{B324ECED-E419-4E79-9BFA-4BA3182C19CD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32581 w 4726281"/>
                <a:gd name="connsiteY1" fmla="*/ 3056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00618" y="3056"/>
                    <a:pt x="232581" y="3056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5A5A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  <p:sp>
          <p:nvSpPr>
            <p:cNvPr id="41" name="Rectangle: Rounded Corners 8">
              <a:extLst>
                <a:ext uri="{FF2B5EF4-FFF2-40B4-BE49-F238E27FC236}">
                  <a16:creationId xmlns:a16="http://schemas.microsoft.com/office/drawing/2014/main" id="{881C8282-A216-4274-8F43-911239E5E193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6151473-F8F9-4165-AF79-F0672553DEC7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Arial"/>
                </a:rPr>
                <a:t>03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Arial"/>
              </a:endParaRPr>
            </a:p>
          </p:txBody>
        </p:sp>
        <p:sp>
          <p:nvSpPr>
            <p:cNvPr id="43" name="Yellow Q">
              <a:extLst>
                <a:ext uri="{FF2B5EF4-FFF2-40B4-BE49-F238E27FC236}">
                  <a16:creationId xmlns:a16="http://schemas.microsoft.com/office/drawing/2014/main" id="{8A14EDD3-AF94-4991-BDB8-19366EE6D757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Splittable files</a:t>
              </a:r>
            </a:p>
          </p:txBody>
        </p:sp>
      </p:grpSp>
      <p:grpSp>
        <p:nvGrpSpPr>
          <p:cNvPr id="44" name="Blue Point">
            <a:extLst>
              <a:ext uri="{FF2B5EF4-FFF2-40B4-BE49-F238E27FC236}">
                <a16:creationId xmlns:a16="http://schemas.microsoft.com/office/drawing/2014/main" id="{9241150C-FF74-4115-8436-6A46DD662B0F}"/>
              </a:ext>
            </a:extLst>
          </p:cNvPr>
          <p:cNvGrpSpPr/>
          <p:nvPr/>
        </p:nvGrpSpPr>
        <p:grpSpPr>
          <a:xfrm>
            <a:off x="2640563" y="2399540"/>
            <a:ext cx="6910875" cy="1134002"/>
            <a:chOff x="6389225" y="1006997"/>
            <a:chExt cx="4726281" cy="775533"/>
          </a:xfrm>
        </p:grpSpPr>
        <p:sp>
          <p:nvSpPr>
            <p:cNvPr id="45" name="Rectangle: Rounded Corners 8">
              <a:extLst>
                <a:ext uri="{FF2B5EF4-FFF2-40B4-BE49-F238E27FC236}">
                  <a16:creationId xmlns:a16="http://schemas.microsoft.com/office/drawing/2014/main" id="{1BDC64CD-1D53-468B-A6B5-13AA5DC77BB8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8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104464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44233 w 4726281"/>
                <a:gd name="connsiteY1" fmla="*/ 3057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12270" y="3057"/>
                    <a:pt x="244233" y="3057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4890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  <p:sp>
          <p:nvSpPr>
            <p:cNvPr id="46" name="Rectangle: Rounded Corners 8">
              <a:extLst>
                <a:ext uri="{FF2B5EF4-FFF2-40B4-BE49-F238E27FC236}">
                  <a16:creationId xmlns:a16="http://schemas.microsoft.com/office/drawing/2014/main" id="{01E63C06-C5A5-48DB-B86B-37EFB2535581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09883EB3-321A-481F-A532-072919ED281C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Arial"/>
                </a:rPr>
                <a:t>02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Arial"/>
              </a:endParaRPr>
            </a:p>
          </p:txBody>
        </p:sp>
        <p:sp>
          <p:nvSpPr>
            <p:cNvPr id="48" name="Yellow Q">
              <a:extLst>
                <a:ext uri="{FF2B5EF4-FFF2-40B4-BE49-F238E27FC236}">
                  <a16:creationId xmlns:a16="http://schemas.microsoft.com/office/drawing/2014/main" id="{AC217B3B-8C6E-45B2-B747-031AE26BDAA6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Faster write time</a:t>
              </a:r>
            </a:p>
          </p:txBody>
        </p:sp>
      </p:grpSp>
      <p:grpSp>
        <p:nvGrpSpPr>
          <p:cNvPr id="49" name="Yellow Point">
            <a:extLst>
              <a:ext uri="{FF2B5EF4-FFF2-40B4-BE49-F238E27FC236}">
                <a16:creationId xmlns:a16="http://schemas.microsoft.com/office/drawing/2014/main" id="{D2F57725-041D-404D-856D-EF6C8BD0FE0C}"/>
              </a:ext>
            </a:extLst>
          </p:cNvPr>
          <p:cNvGrpSpPr/>
          <p:nvPr/>
        </p:nvGrpSpPr>
        <p:grpSpPr>
          <a:xfrm>
            <a:off x="2640563" y="1092722"/>
            <a:ext cx="6910875" cy="1134001"/>
            <a:chOff x="6389225" y="1006997"/>
            <a:chExt cx="4726281" cy="775532"/>
          </a:xfrm>
        </p:grpSpPr>
        <p:sp>
          <p:nvSpPr>
            <p:cNvPr id="50" name="Rectangle: Rounded Corners 8">
              <a:extLst>
                <a:ext uri="{FF2B5EF4-FFF2-40B4-BE49-F238E27FC236}">
                  <a16:creationId xmlns:a16="http://schemas.microsoft.com/office/drawing/2014/main" id="{E7CA3076-3476-44BC-A051-70567B0E8E17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09294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177331" y="4685"/>
                    <a:pt x="209294" y="4685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F4AB3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  <p:sp>
          <p:nvSpPr>
            <p:cNvPr id="51" name="Rectangle: Rounded Corners 8">
              <a:extLst>
                <a:ext uri="{FF2B5EF4-FFF2-40B4-BE49-F238E27FC236}">
                  <a16:creationId xmlns:a16="http://schemas.microsoft.com/office/drawing/2014/main" id="{000A369D-ACF2-449A-8F5C-A8D791777D7B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C5ED1C92-0DC3-4EA9-936D-25745C7A5A9C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Arial"/>
                </a:rPr>
                <a:t>01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Arial"/>
              </a:endParaRPr>
            </a:p>
          </p:txBody>
        </p:sp>
        <p:sp>
          <p:nvSpPr>
            <p:cNvPr id="53" name="Yellow Q">
              <a:extLst>
                <a:ext uri="{FF2B5EF4-FFF2-40B4-BE49-F238E27FC236}">
                  <a16:creationId xmlns:a16="http://schemas.microsoft.com/office/drawing/2014/main" id="{399BA6B6-A5AE-4FED-B0FD-8E5C2B886653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Faster read tim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027468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7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1.11111E-6 L 0 -0.19514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769"/>
                                    </p:animMotion>
                                  </p:childTnLst>
                                </p:cTn>
                              </p:par>
                              <p:par>
                                <p:cTn id="41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1.85185E-6 L 0 -0.18611 " pathEditMode="relative" rAng="0" ptsTypes="AA">
                                      <p:cBhvr>
                                        <p:cTn id="42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306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0.00417 L 0 -0.19051 " pathEditMode="relative" rAng="0" ptsTypes="AA">
                                      <p:cBhvr>
                                        <p:cTn id="44" dur="2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32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3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9" name="Google Shape;429;p35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7698" b="7696"/>
          <a:stretch/>
        </p:blipFill>
        <p:spPr>
          <a:xfrm>
            <a:off x="0" y="-15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31" name="Google Shape;431;p3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46849" y="0"/>
            <a:ext cx="4346357" cy="5389032"/>
          </a:xfrm>
          <a:prstGeom prst="rect">
            <a:avLst/>
          </a:prstGeom>
          <a:noFill/>
          <a:ln>
            <a:noFill/>
          </a:ln>
        </p:spPr>
      </p:pic>
      <p:sp>
        <p:nvSpPr>
          <p:cNvPr id="432" name="Google Shape;432;p35"/>
          <p:cNvSpPr txBox="1"/>
          <p:nvPr/>
        </p:nvSpPr>
        <p:spPr>
          <a:xfrm>
            <a:off x="846827" y="1010969"/>
            <a:ext cx="4346400" cy="20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SzPts val="1800"/>
            </a:pPr>
            <a:r>
              <a:rPr lang="en-IN" sz="2489" b="1" dirty="0">
                <a:solidFill>
                  <a:srgbClr val="FFFFFF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  <a:t>Course:</a:t>
            </a:r>
            <a:r>
              <a:rPr lang="en-IN" sz="2489" dirty="0">
                <a:solidFill>
                  <a:schemeClr val="lt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  <a:t> Data Engineering - II</a:t>
            </a:r>
            <a:endParaRPr sz="2489" dirty="0">
              <a:solidFill>
                <a:schemeClr val="dk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Calibri"/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IN" sz="2489" b="1" dirty="0">
                <a:solidFill>
                  <a:srgbClr val="FFFFFF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  <a:t>Lecture On:</a:t>
            </a:r>
            <a:r>
              <a:rPr lang="en-IN" sz="2489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  <a:t> </a:t>
            </a:r>
            <a:r>
              <a:rPr lang="en-IN" sz="2489" dirty="0">
                <a:solidFill>
                  <a:srgbClr val="FFFFFF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  <a:t>Optimising Disk I/O for Spark</a:t>
            </a:r>
            <a:endParaRPr sz="2489" dirty="0">
              <a:solidFill>
                <a:srgbClr val="FFFFFF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Calibri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SzPts val="1800"/>
            </a:pPr>
            <a:r>
              <a:rPr lang="en-IN" sz="2489" b="1" dirty="0">
                <a:solidFill>
                  <a:srgbClr val="FFFFFF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  <a:t>Instructor: </a:t>
            </a:r>
            <a:r>
              <a:rPr lang="en-IN" sz="2489" dirty="0">
                <a:solidFill>
                  <a:srgbClr val="FFFFFF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  <a:t>Vishwa Mohan</a:t>
            </a:r>
            <a:endParaRPr sz="2489" dirty="0">
              <a:solidFill>
                <a:schemeClr val="lt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Calibri"/>
            </a:endParaRPr>
          </a:p>
        </p:txBody>
      </p:sp>
      <p:pic>
        <p:nvPicPr>
          <p:cNvPr id="433" name="Google Shape;433;p3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0572384" y="280085"/>
            <a:ext cx="1084840" cy="2896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ing">
            <a:extLst>
              <a:ext uri="{FF2B5EF4-FFF2-40B4-BE49-F238E27FC236}">
                <a16:creationId xmlns:a16="http://schemas.microsoft.com/office/drawing/2014/main" id="{4A3481BE-D8E0-4AB2-8045-6559A1C469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NEFITS OF USING A COLUMNAR FILE FORMAT</a:t>
            </a:r>
          </a:p>
        </p:txBody>
      </p:sp>
      <p:grpSp>
        <p:nvGrpSpPr>
          <p:cNvPr id="52" name="Grey Point">
            <a:extLst>
              <a:ext uri="{FF2B5EF4-FFF2-40B4-BE49-F238E27FC236}">
                <a16:creationId xmlns:a16="http://schemas.microsoft.com/office/drawing/2014/main" id="{AFE5B747-86EE-43C0-BE59-A0ED64BFBD22}"/>
              </a:ext>
            </a:extLst>
          </p:cNvPr>
          <p:cNvGrpSpPr/>
          <p:nvPr/>
        </p:nvGrpSpPr>
        <p:grpSpPr>
          <a:xfrm>
            <a:off x="2640563" y="4221088"/>
            <a:ext cx="6910875" cy="1134001"/>
            <a:chOff x="6389225" y="1006997"/>
            <a:chExt cx="4726281" cy="775532"/>
          </a:xfrm>
        </p:grpSpPr>
        <p:sp>
          <p:nvSpPr>
            <p:cNvPr id="53" name="Rectangle: Rounded Corners 8">
              <a:extLst>
                <a:ext uri="{FF2B5EF4-FFF2-40B4-BE49-F238E27FC236}">
                  <a16:creationId xmlns:a16="http://schemas.microsoft.com/office/drawing/2014/main" id="{7E3523F3-E633-4542-B624-558638CFF168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32581 w 4726281"/>
                <a:gd name="connsiteY1" fmla="*/ 3056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00618" y="3056"/>
                    <a:pt x="232581" y="3056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5A5A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  <p:sp>
          <p:nvSpPr>
            <p:cNvPr id="54" name="Rectangle: Rounded Corners 8">
              <a:extLst>
                <a:ext uri="{FF2B5EF4-FFF2-40B4-BE49-F238E27FC236}">
                  <a16:creationId xmlns:a16="http://schemas.microsoft.com/office/drawing/2014/main" id="{28B4CD73-CB1E-4D24-A3EE-0168397FDF99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809AA778-0039-4A56-830A-C2627ABD22A7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Arial"/>
                </a:rPr>
                <a:t>03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Arial"/>
              </a:endParaRPr>
            </a:p>
          </p:txBody>
        </p:sp>
        <p:sp>
          <p:nvSpPr>
            <p:cNvPr id="56" name="Yellow Q">
              <a:extLst>
                <a:ext uri="{FF2B5EF4-FFF2-40B4-BE49-F238E27FC236}">
                  <a16:creationId xmlns:a16="http://schemas.microsoft.com/office/drawing/2014/main" id="{5888FB73-9977-4E92-8352-C996EA8B250C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You can use an encoding better suited to modern processors (as the data in a column is of the same type).</a:t>
              </a:r>
            </a:p>
          </p:txBody>
        </p:sp>
      </p:grpSp>
      <p:grpSp>
        <p:nvGrpSpPr>
          <p:cNvPr id="57" name="Blue Point">
            <a:extLst>
              <a:ext uri="{FF2B5EF4-FFF2-40B4-BE49-F238E27FC236}">
                <a16:creationId xmlns:a16="http://schemas.microsoft.com/office/drawing/2014/main" id="{9B88BDB4-8299-4BF8-92B4-C75B0983D998}"/>
              </a:ext>
            </a:extLst>
          </p:cNvPr>
          <p:cNvGrpSpPr/>
          <p:nvPr/>
        </p:nvGrpSpPr>
        <p:grpSpPr>
          <a:xfrm>
            <a:off x="2640563" y="2914269"/>
            <a:ext cx="6910875" cy="1134002"/>
            <a:chOff x="6389225" y="1006997"/>
            <a:chExt cx="4726281" cy="775533"/>
          </a:xfrm>
        </p:grpSpPr>
        <p:sp>
          <p:nvSpPr>
            <p:cNvPr id="58" name="Rectangle: Rounded Corners 8">
              <a:extLst>
                <a:ext uri="{FF2B5EF4-FFF2-40B4-BE49-F238E27FC236}">
                  <a16:creationId xmlns:a16="http://schemas.microsoft.com/office/drawing/2014/main" id="{55BB8419-BAE6-47B0-8DE2-A4778D079C25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8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104464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44233 w 4726281"/>
                <a:gd name="connsiteY1" fmla="*/ 3057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12270" y="3057"/>
                    <a:pt x="244233" y="3057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4890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  <p:sp>
          <p:nvSpPr>
            <p:cNvPr id="59" name="Rectangle: Rounded Corners 8">
              <a:extLst>
                <a:ext uri="{FF2B5EF4-FFF2-40B4-BE49-F238E27FC236}">
                  <a16:creationId xmlns:a16="http://schemas.microsoft.com/office/drawing/2014/main" id="{2D25AE0D-47B4-43BF-B71A-BD8AEBABE11A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8A71EC12-82A5-4DF7-AAE3-59EFEC8A7C64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Arial"/>
                </a:rPr>
                <a:t>02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Arial"/>
              </a:endParaRPr>
            </a:p>
          </p:txBody>
        </p:sp>
        <p:sp>
          <p:nvSpPr>
            <p:cNvPr id="61" name="Yellow Q">
              <a:extLst>
                <a:ext uri="{FF2B5EF4-FFF2-40B4-BE49-F238E27FC236}">
                  <a16:creationId xmlns:a16="http://schemas.microsoft.com/office/drawing/2014/main" id="{6BD85275-FAB7-4377-826D-7BD0969C0748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I/O will be reduced, as you will scan only a subset of a column</a:t>
              </a:r>
            </a:p>
          </p:txBody>
        </p:sp>
      </p:grpSp>
      <p:grpSp>
        <p:nvGrpSpPr>
          <p:cNvPr id="62" name="Yellow Point">
            <a:extLst>
              <a:ext uri="{FF2B5EF4-FFF2-40B4-BE49-F238E27FC236}">
                <a16:creationId xmlns:a16="http://schemas.microsoft.com/office/drawing/2014/main" id="{18756080-AA85-4501-A4B1-894A35DD88D9}"/>
              </a:ext>
            </a:extLst>
          </p:cNvPr>
          <p:cNvGrpSpPr/>
          <p:nvPr/>
        </p:nvGrpSpPr>
        <p:grpSpPr>
          <a:xfrm>
            <a:off x="2640563" y="1607451"/>
            <a:ext cx="6910875" cy="1134001"/>
            <a:chOff x="6389225" y="1006997"/>
            <a:chExt cx="4726281" cy="775532"/>
          </a:xfrm>
        </p:grpSpPr>
        <p:sp>
          <p:nvSpPr>
            <p:cNvPr id="63" name="Rectangle: Rounded Corners 8">
              <a:extLst>
                <a:ext uri="{FF2B5EF4-FFF2-40B4-BE49-F238E27FC236}">
                  <a16:creationId xmlns:a16="http://schemas.microsoft.com/office/drawing/2014/main" id="{7E32C366-4453-4AFD-B592-A57EF9F439C3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09294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177331" y="4685"/>
                    <a:pt x="209294" y="4685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F4AB3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  <p:sp>
          <p:nvSpPr>
            <p:cNvPr id="64" name="Rectangle: Rounded Corners 8">
              <a:extLst>
                <a:ext uri="{FF2B5EF4-FFF2-40B4-BE49-F238E27FC236}">
                  <a16:creationId xmlns:a16="http://schemas.microsoft.com/office/drawing/2014/main" id="{11DCBC89-950B-441E-855D-2304AE4DE2E6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0D6CE2CA-69D4-4D8D-92E6-4C10ECE0A704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  <a:sym typeface="Arial"/>
                </a:rPr>
                <a:t>01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Arial"/>
              </a:endParaRPr>
            </a:p>
          </p:txBody>
        </p:sp>
        <p:sp>
          <p:nvSpPr>
            <p:cNvPr id="66" name="Yellow Q">
              <a:extLst>
                <a:ext uri="{FF2B5EF4-FFF2-40B4-BE49-F238E27FC236}">
                  <a16:creationId xmlns:a16="http://schemas.microsoft.com/office/drawing/2014/main" id="{E55BAA9F-370B-41D3-A5C6-625B31F7CD78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Better compression, as the data is more homogenou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50736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6" name="Google Shape;926;p58"/>
          <p:cNvSpPr txBox="1"/>
          <p:nvPr/>
        </p:nvSpPr>
        <p:spPr>
          <a:xfrm>
            <a:off x="1138400" y="1412776"/>
            <a:ext cx="9915200" cy="2062596"/>
          </a:xfrm>
          <a:prstGeom prst="roundRect">
            <a:avLst>
              <a:gd name="adj" fmla="val 9278"/>
            </a:avLst>
          </a:prstGeom>
          <a:noFill/>
          <a:ln w="28575">
            <a:solidFill>
              <a:srgbClr val="F4AB35"/>
            </a:solidFill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marL="342900" indent="-342900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IN" sz="2400" b="1" dirty="0">
                <a:solidFill>
                  <a:srgbClr val="EE283C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Serialisation: </a:t>
            </a:r>
            <a:r>
              <a:rPr lang="en-IN" sz="2400" dirty="0">
                <a:solidFill>
                  <a:srgbClr val="33333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A mechanism to convert the state of an object to a byte stream</a:t>
            </a:r>
            <a:endParaRPr sz="2400" dirty="0">
              <a:solidFill>
                <a:srgbClr val="33333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/>
            </a:endParaRPr>
          </a:p>
          <a:p>
            <a:pPr marL="342900" indent="-342900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IN" sz="2400" b="1" dirty="0">
                <a:solidFill>
                  <a:srgbClr val="EE283C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Deserialisation: </a:t>
            </a:r>
            <a:r>
              <a:rPr lang="en-IN" sz="2400" dirty="0">
                <a:solidFill>
                  <a:srgbClr val="33333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The process of converting a byte stream to an object is known as deserialisation.</a:t>
            </a:r>
            <a:endParaRPr sz="2400" dirty="0">
              <a:solidFill>
                <a:srgbClr val="33333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/>
            </a:endParaRPr>
          </a:p>
        </p:txBody>
      </p:sp>
      <p:cxnSp>
        <p:nvCxnSpPr>
          <p:cNvPr id="927" name="Google Shape;927;p58"/>
          <p:cNvCxnSpPr>
            <a:cxnSpLocks/>
            <a:stCxn id="926" idx="2"/>
            <a:endCxn id="928" idx="0"/>
          </p:cNvCxnSpPr>
          <p:nvPr/>
        </p:nvCxnSpPr>
        <p:spPr>
          <a:xfrm rot="5400000">
            <a:off x="4018862" y="2908428"/>
            <a:ext cx="1510195" cy="2644083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triangle" w="lg" len="lg"/>
          </a:ln>
        </p:spPr>
      </p:cxnSp>
      <p:cxnSp>
        <p:nvCxnSpPr>
          <p:cNvPr id="929" name="Google Shape;929;p58"/>
          <p:cNvCxnSpPr>
            <a:cxnSpLocks/>
            <a:stCxn id="926" idx="2"/>
            <a:endCxn id="930" idx="0"/>
          </p:cNvCxnSpPr>
          <p:nvPr/>
        </p:nvCxnSpPr>
        <p:spPr>
          <a:xfrm rot="16200000" flipH="1">
            <a:off x="6685245" y="2886127"/>
            <a:ext cx="1510195" cy="2688684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triangle" w="lg" len="lg"/>
          </a:ln>
        </p:spPr>
      </p:cxnSp>
      <p:sp>
        <p:nvSpPr>
          <p:cNvPr id="928" name="Google Shape;928;p58"/>
          <p:cNvSpPr txBox="1"/>
          <p:nvPr/>
        </p:nvSpPr>
        <p:spPr>
          <a:xfrm>
            <a:off x="2022517" y="4985567"/>
            <a:ext cx="2858800" cy="603600"/>
          </a:xfrm>
          <a:prstGeom prst="roundRect">
            <a:avLst/>
          </a:prstGeom>
          <a:noFill/>
          <a:ln w="28575">
            <a:solidFill>
              <a:srgbClr val="4890E4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-IN" sz="2000" dirty="0">
                <a:latin typeface="Lato"/>
                <a:ea typeface="Lato"/>
                <a:cs typeface="Lato"/>
                <a:sym typeface="Lato"/>
              </a:rPr>
              <a:t>Marshal Serialiser</a:t>
            </a:r>
            <a:endParaRPr sz="2000" dirty="0"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930" name="Google Shape;930;p58"/>
          <p:cNvSpPr txBox="1"/>
          <p:nvPr/>
        </p:nvSpPr>
        <p:spPr>
          <a:xfrm>
            <a:off x="7399884" y="4985567"/>
            <a:ext cx="2769600" cy="603600"/>
          </a:xfrm>
          <a:prstGeom prst="roundRect">
            <a:avLst/>
          </a:prstGeom>
          <a:noFill/>
          <a:ln w="28575">
            <a:solidFill>
              <a:srgbClr val="4890E4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-IN" sz="2000" dirty="0">
                <a:latin typeface="Lato"/>
                <a:ea typeface="Lato"/>
                <a:cs typeface="Lato"/>
                <a:sym typeface="Lato"/>
              </a:rPr>
              <a:t>Pickle Serialiser</a:t>
            </a:r>
            <a:endParaRPr sz="2000" dirty="0"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9" name="Heading">
            <a:extLst>
              <a:ext uri="{FF2B5EF4-FFF2-40B4-BE49-F238E27FC236}">
                <a16:creationId xmlns:a16="http://schemas.microsoft.com/office/drawing/2014/main" id="{CE5E720E-EBDF-4E79-B276-82327440AD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AT IS SERIALISATION?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2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9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9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5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9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9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9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92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9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9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9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9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6" grpId="0" build="p" animBg="1"/>
      <p:bldP spid="926" grpId="1" build="allAtOnce" animBg="1"/>
      <p:bldP spid="928" grpId="0" animBg="1"/>
      <p:bldP spid="928" grpId="1" animBg="1"/>
      <p:bldP spid="930" grpId="0" animBg="1"/>
      <p:bldP spid="930" grpId="1" animBg="1"/>
      <p:bldP spid="9" grpId="0" animBg="1"/>
      <p:bldP spid="9" grpId="1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926;p58">
            <a:extLst>
              <a:ext uri="{FF2B5EF4-FFF2-40B4-BE49-F238E27FC236}">
                <a16:creationId xmlns:a16="http://schemas.microsoft.com/office/drawing/2014/main" id="{BE74E6D5-4B5B-4CD7-8D52-017F3B037EDA}"/>
              </a:ext>
            </a:extLst>
          </p:cNvPr>
          <p:cNvSpPr txBox="1"/>
          <p:nvPr/>
        </p:nvSpPr>
        <p:spPr>
          <a:xfrm>
            <a:off x="1138400" y="1412776"/>
            <a:ext cx="9915200" cy="4778474"/>
          </a:xfrm>
          <a:prstGeom prst="roundRect">
            <a:avLst>
              <a:gd name="adj" fmla="val 4095"/>
            </a:avLst>
          </a:prstGeom>
          <a:noFill/>
          <a:ln w="28575">
            <a:solidFill>
              <a:srgbClr val="F4AB35"/>
            </a:solidFill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marL="342900" indent="-342900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US" sz="24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Serialisation is implemented for maintaining performance in distributed systems.</a:t>
            </a:r>
          </a:p>
          <a:p>
            <a:pPr marL="342900" indent="-342900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US" sz="24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Serialisation is helpful when you want to save objects to a disk or send them over networks.</a:t>
            </a:r>
          </a:p>
          <a:p>
            <a:pPr marL="342900" indent="-342900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US" sz="24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For example, RDDs may be serialised to:</a:t>
            </a:r>
          </a:p>
          <a:p>
            <a:pPr marL="684000" indent="-342900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  <a:buFont typeface="Wingdings" panose="05000000000000000000" pitchFamily="2" charset="2"/>
              <a:buChar char="l"/>
            </a:pPr>
            <a:r>
              <a:rPr lang="en-US" sz="24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Decrease memory usage when stored in a serialised form</a:t>
            </a:r>
          </a:p>
          <a:p>
            <a:pPr marL="684000" indent="-342900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  <a:buFont typeface="Wingdings" panose="05000000000000000000" pitchFamily="2" charset="2"/>
              <a:buChar char="l"/>
            </a:pPr>
            <a:r>
              <a:rPr lang="en-US" sz="24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Reduce network bottleneck in processes such as shuffling</a:t>
            </a:r>
          </a:p>
          <a:p>
            <a:pPr marL="684000" indent="-342900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  <a:buFont typeface="Wingdings" panose="05000000000000000000" pitchFamily="2" charset="2"/>
              <a:buChar char="l"/>
            </a:pPr>
            <a:r>
              <a:rPr lang="en-US" sz="24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Tune Performance</a:t>
            </a:r>
          </a:p>
          <a:p>
            <a:pPr marL="342900" indent="-342900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US" sz="24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Another example is that objects can be serialised so they can be sent to the Spark worker nodes.</a:t>
            </a:r>
          </a:p>
        </p:txBody>
      </p:sp>
      <p:sp>
        <p:nvSpPr>
          <p:cNvPr id="6" name="Heading">
            <a:extLst>
              <a:ext uri="{FF2B5EF4-FFF2-40B4-BE49-F238E27FC236}">
                <a16:creationId xmlns:a16="http://schemas.microsoft.com/office/drawing/2014/main" id="{B8CDD9C9-676B-4914-A48C-AECEABB310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Y SERIALISATION?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 animBg="1"/>
      <p:bldP spid="5" grpId="1" build="allAtOnce" animBg="1"/>
      <p:bldP spid="6" grpId="0" animBg="1"/>
      <p:bldP spid="6" grpId="1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Dividing Line">
            <a:extLst>
              <a:ext uri="{FF2B5EF4-FFF2-40B4-BE49-F238E27FC236}">
                <a16:creationId xmlns:a16="http://schemas.microsoft.com/office/drawing/2014/main" id="{7746C3DD-656B-4501-B21F-6DD364CFCB36}"/>
              </a:ext>
            </a:extLst>
          </p:cNvPr>
          <p:cNvCxnSpPr>
            <a:cxnSpLocks/>
          </p:cNvCxnSpPr>
          <p:nvPr/>
        </p:nvCxnSpPr>
        <p:spPr>
          <a:xfrm>
            <a:off x="6096000" y="2461367"/>
            <a:ext cx="0" cy="2303820"/>
          </a:xfrm>
          <a:prstGeom prst="line">
            <a:avLst/>
          </a:prstGeom>
          <a:ln w="25400" cap="rnd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Blue P2 Patch">
            <a:extLst>
              <a:ext uri="{FF2B5EF4-FFF2-40B4-BE49-F238E27FC236}">
                <a16:creationId xmlns:a16="http://schemas.microsoft.com/office/drawing/2014/main" id="{E47DAC2F-851A-4744-B1FF-7F1A1D0DD71A}"/>
              </a:ext>
            </a:extLst>
          </p:cNvPr>
          <p:cNvGrpSpPr/>
          <p:nvPr/>
        </p:nvGrpSpPr>
        <p:grpSpPr>
          <a:xfrm flipH="1">
            <a:off x="6011174" y="3734417"/>
            <a:ext cx="6085088" cy="909052"/>
            <a:chOff x="101316" y="1324259"/>
            <a:chExt cx="6085088" cy="909052"/>
          </a:xfrm>
        </p:grpSpPr>
        <p:sp>
          <p:nvSpPr>
            <p:cNvPr id="6" name="Yellow P1 Line">
              <a:extLst>
                <a:ext uri="{FF2B5EF4-FFF2-40B4-BE49-F238E27FC236}">
                  <a16:creationId xmlns:a16="http://schemas.microsoft.com/office/drawing/2014/main" id="{EA906060-414D-441C-8A25-BF44FC98F521}"/>
                </a:ext>
              </a:extLst>
            </p:cNvPr>
            <p:cNvSpPr/>
            <p:nvPr/>
          </p:nvSpPr>
          <p:spPr>
            <a:xfrm flipH="1">
              <a:off x="5691654" y="1752299"/>
              <a:ext cx="405297" cy="142402"/>
            </a:xfrm>
            <a:custGeom>
              <a:avLst/>
              <a:gdLst>
                <a:gd name="connsiteX0" fmla="*/ 0 w 523875"/>
                <a:gd name="connsiteY0" fmla="*/ 523875 h 523875"/>
                <a:gd name="connsiteX1" fmla="*/ 0 w 523875"/>
                <a:gd name="connsiteY1" fmla="*/ 0 h 523875"/>
                <a:gd name="connsiteX2" fmla="*/ 523875 w 523875"/>
                <a:gd name="connsiteY2" fmla="*/ 523875 h 523875"/>
                <a:gd name="connsiteX3" fmla="*/ 0 w 523875"/>
                <a:gd name="connsiteY3" fmla="*/ 523875 h 523875"/>
                <a:gd name="connsiteX0" fmla="*/ 523875 w 615315"/>
                <a:gd name="connsiteY0" fmla="*/ 523875 h 615315"/>
                <a:gd name="connsiteX1" fmla="*/ 0 w 615315"/>
                <a:gd name="connsiteY1" fmla="*/ 523875 h 615315"/>
                <a:gd name="connsiteX2" fmla="*/ 0 w 615315"/>
                <a:gd name="connsiteY2" fmla="*/ 0 h 615315"/>
                <a:gd name="connsiteX3" fmla="*/ 615315 w 615315"/>
                <a:gd name="connsiteY3" fmla="*/ 615315 h 615315"/>
                <a:gd name="connsiteX0" fmla="*/ 523875 w 523875"/>
                <a:gd name="connsiteY0" fmla="*/ 523875 h 523875"/>
                <a:gd name="connsiteX1" fmla="*/ 0 w 523875"/>
                <a:gd name="connsiteY1" fmla="*/ 523875 h 523875"/>
                <a:gd name="connsiteX2" fmla="*/ 0 w 523875"/>
                <a:gd name="connsiteY2" fmla="*/ 0 h 523875"/>
                <a:gd name="connsiteX0" fmla="*/ 523875 w 523875"/>
                <a:gd name="connsiteY0" fmla="*/ 523875 h 523875"/>
                <a:gd name="connsiteX1" fmla="*/ 203200 w 523875"/>
                <a:gd name="connsiteY1" fmla="*/ 523875 h 523875"/>
                <a:gd name="connsiteX2" fmla="*/ 0 w 523875"/>
                <a:gd name="connsiteY2" fmla="*/ 0 h 523875"/>
                <a:gd name="connsiteX0" fmla="*/ 410322 w 410322"/>
                <a:gd name="connsiteY0" fmla="*/ 225052 h 225052"/>
                <a:gd name="connsiteX1" fmla="*/ 89647 w 410322"/>
                <a:gd name="connsiteY1" fmla="*/ 225052 h 225052"/>
                <a:gd name="connsiteX2" fmla="*/ 0 w 410322"/>
                <a:gd name="connsiteY2" fmla="*/ 0 h 225052"/>
                <a:gd name="connsiteX0" fmla="*/ 410322 w 410322"/>
                <a:gd name="connsiteY0" fmla="*/ 225052 h 225052"/>
                <a:gd name="connsiteX1" fmla="*/ 197223 w 410322"/>
                <a:gd name="connsiteY1" fmla="*/ 219075 h 225052"/>
                <a:gd name="connsiteX2" fmla="*/ 0 w 410322"/>
                <a:gd name="connsiteY2" fmla="*/ 0 h 225052"/>
                <a:gd name="connsiteX0" fmla="*/ 410322 w 410322"/>
                <a:gd name="connsiteY0" fmla="*/ 195170 h 195170"/>
                <a:gd name="connsiteX1" fmla="*/ 197223 w 410322"/>
                <a:gd name="connsiteY1" fmla="*/ 189193 h 195170"/>
                <a:gd name="connsiteX2" fmla="*/ 0 w 410322"/>
                <a:gd name="connsiteY2" fmla="*/ 0 h 195170"/>
                <a:gd name="connsiteX0" fmla="*/ 405297 w 405297"/>
                <a:gd name="connsiteY0" fmla="*/ 5977 h 142402"/>
                <a:gd name="connsiteX1" fmla="*/ 192198 w 405297"/>
                <a:gd name="connsiteY1" fmla="*/ 0 h 142402"/>
                <a:gd name="connsiteX2" fmla="*/ 0 w 405297"/>
                <a:gd name="connsiteY2" fmla="*/ 142402 h 142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5297" h="142402">
                  <a:moveTo>
                    <a:pt x="405297" y="5977"/>
                  </a:moveTo>
                  <a:lnTo>
                    <a:pt x="192198" y="0"/>
                  </a:lnTo>
                  <a:lnTo>
                    <a:pt x="0" y="142402"/>
                  </a:lnTo>
                </a:path>
              </a:pathLst>
            </a:custGeom>
            <a:noFill/>
            <a:ln w="25400">
              <a:solidFill>
                <a:srgbClr val="7671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7" name="Yellow Small Circle">
              <a:extLst>
                <a:ext uri="{FF2B5EF4-FFF2-40B4-BE49-F238E27FC236}">
                  <a16:creationId xmlns:a16="http://schemas.microsoft.com/office/drawing/2014/main" id="{F13ABA6F-76E9-4CAC-A3FC-46BB9F0B2B1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011716" y="1794246"/>
              <a:ext cx="174688" cy="174688"/>
              <a:chOff x="5980364" y="2010546"/>
              <a:chExt cx="291146" cy="291145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BD8D8FCC-3283-47BA-B83B-88DA8B25FD2B}"/>
                  </a:ext>
                </a:extLst>
              </p:cNvPr>
              <p:cNvSpPr/>
              <p:nvPr/>
            </p:nvSpPr>
            <p:spPr>
              <a:xfrm>
                <a:off x="5980364" y="2010546"/>
                <a:ext cx="291146" cy="291145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4890E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6391E26B-3757-4C92-8A9E-4507262DC07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6" y="2040252"/>
                <a:ext cx="231724" cy="231724"/>
              </a:xfrm>
              <a:prstGeom prst="ellipse">
                <a:avLst/>
              </a:prstGeom>
              <a:solidFill>
                <a:srgbClr val="4890E4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</p:grpSp>
        <p:grpSp>
          <p:nvGrpSpPr>
            <p:cNvPr id="8" name="Yellow Patch">
              <a:extLst>
                <a:ext uri="{FF2B5EF4-FFF2-40B4-BE49-F238E27FC236}">
                  <a16:creationId xmlns:a16="http://schemas.microsoft.com/office/drawing/2014/main" id="{0A3CF0A0-8220-46B5-AE6F-2938FA7AAC01}"/>
                </a:ext>
              </a:extLst>
            </p:cNvPr>
            <p:cNvGrpSpPr/>
            <p:nvPr/>
          </p:nvGrpSpPr>
          <p:grpSpPr>
            <a:xfrm>
              <a:off x="101316" y="1324259"/>
              <a:ext cx="5668583" cy="909052"/>
              <a:chOff x="101316" y="1324259"/>
              <a:chExt cx="5668583" cy="909052"/>
            </a:xfrm>
          </p:grpSpPr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id="{7FD96285-AAAA-4AA4-BB8A-16855EB3A84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43130" y="1331632"/>
                <a:ext cx="5426769" cy="886929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38100">
                <a:solidFill>
                  <a:srgbClr val="4890E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13" name="Rectangle 29">
                <a:extLst>
                  <a:ext uri="{FF2B5EF4-FFF2-40B4-BE49-F238E27FC236}">
                    <a16:creationId xmlns:a16="http://schemas.microsoft.com/office/drawing/2014/main" id="{00EBA612-F1E7-495D-8110-FE6ACCC8C53D}"/>
                  </a:ext>
                </a:extLst>
              </p:cNvPr>
              <p:cNvSpPr/>
              <p:nvPr/>
            </p:nvSpPr>
            <p:spPr>
              <a:xfrm>
                <a:off x="101316" y="1324259"/>
                <a:ext cx="4319769" cy="909052"/>
              </a:xfrm>
              <a:custGeom>
                <a:avLst/>
                <a:gdLst>
                  <a:gd name="connsiteX0" fmla="*/ 0 w 4324832"/>
                  <a:gd name="connsiteY0" fmla="*/ 0 h 886929"/>
                  <a:gd name="connsiteX1" fmla="*/ 4324832 w 4324832"/>
                  <a:gd name="connsiteY1" fmla="*/ 0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22122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901678"/>
                  <a:gd name="connsiteX1" fmla="*/ 4324832 w 4324832"/>
                  <a:gd name="connsiteY1" fmla="*/ 36871 h 901678"/>
                  <a:gd name="connsiteX2" fmla="*/ 4324832 w 4324832"/>
                  <a:gd name="connsiteY2" fmla="*/ 879556 h 901678"/>
                  <a:gd name="connsiteX3" fmla="*/ 0 w 4324832"/>
                  <a:gd name="connsiteY3" fmla="*/ 901678 h 901678"/>
                  <a:gd name="connsiteX4" fmla="*/ 0 w 4324832"/>
                  <a:gd name="connsiteY4" fmla="*/ 0 h 901678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31176"/>
                  <a:gd name="connsiteX1" fmla="*/ 4324832 w 4324832"/>
                  <a:gd name="connsiteY1" fmla="*/ 36871 h 931176"/>
                  <a:gd name="connsiteX2" fmla="*/ 4324832 w 4324832"/>
                  <a:gd name="connsiteY2" fmla="*/ 879556 h 931176"/>
                  <a:gd name="connsiteX3" fmla="*/ 0 w 4324832"/>
                  <a:gd name="connsiteY3" fmla="*/ 931176 h 931176"/>
                  <a:gd name="connsiteX4" fmla="*/ 0 w 4324832"/>
                  <a:gd name="connsiteY4" fmla="*/ 0 h 931176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09052"/>
                  <a:gd name="connsiteX1" fmla="*/ 4324832 w 4324832"/>
                  <a:gd name="connsiteY1" fmla="*/ 29496 h 909052"/>
                  <a:gd name="connsiteX2" fmla="*/ 4324832 w 4324832"/>
                  <a:gd name="connsiteY2" fmla="*/ 872181 h 909052"/>
                  <a:gd name="connsiteX3" fmla="*/ 0 w 4324832"/>
                  <a:gd name="connsiteY3" fmla="*/ 909052 h 909052"/>
                  <a:gd name="connsiteX4" fmla="*/ 0 w 4324832"/>
                  <a:gd name="connsiteY4" fmla="*/ 0 h 90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4832" h="909052">
                    <a:moveTo>
                      <a:pt x="0" y="0"/>
                    </a:moveTo>
                    <a:lnTo>
                      <a:pt x="4324832" y="29496"/>
                    </a:lnTo>
                    <a:lnTo>
                      <a:pt x="4324832" y="872181"/>
                    </a:lnTo>
                    <a:lnTo>
                      <a:pt x="0" y="9090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</p:grpSp>
        <p:grpSp>
          <p:nvGrpSpPr>
            <p:cNvPr id="9" name="Yellow Big Circle">
              <a:extLst>
                <a:ext uri="{FF2B5EF4-FFF2-40B4-BE49-F238E27FC236}">
                  <a16:creationId xmlns:a16="http://schemas.microsoft.com/office/drawing/2014/main" id="{2E974565-1027-4F18-B146-6F3A27BA8E9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85235" y="1590023"/>
              <a:ext cx="351252" cy="351252"/>
              <a:chOff x="5980364" y="1469777"/>
              <a:chExt cx="291146" cy="291146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44DCAB56-20C5-4FED-B21A-F6E990F91C9C}"/>
                  </a:ext>
                </a:extLst>
              </p:cNvPr>
              <p:cNvSpPr/>
              <p:nvPr/>
            </p:nvSpPr>
            <p:spPr>
              <a:xfrm>
                <a:off x="5980364" y="1469777"/>
                <a:ext cx="291146" cy="291146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4890E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5B4B37A-564C-412B-8E2E-4C3C8097071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5" y="1499488"/>
                <a:ext cx="231725" cy="231725"/>
              </a:xfrm>
              <a:prstGeom prst="ellipse">
                <a:avLst/>
              </a:prstGeom>
              <a:solidFill>
                <a:srgbClr val="4890E4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</p:grpSp>
      </p:grpSp>
      <p:sp>
        <p:nvSpPr>
          <p:cNvPr id="16" name="Blue P2">
            <a:extLst>
              <a:ext uri="{FF2B5EF4-FFF2-40B4-BE49-F238E27FC236}">
                <a16:creationId xmlns:a16="http://schemas.microsoft.com/office/drawing/2014/main" id="{B2554E1F-17E9-465A-9176-A0C1CC8A02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51261" y="3846957"/>
            <a:ext cx="4307185" cy="660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ctr" anchorCtr="0">
            <a:spAutoFit/>
          </a:bodyPr>
          <a:lstStyle/>
          <a:p>
            <a:pPr lvl="0">
              <a:lnSpc>
                <a:spcPct val="107000"/>
              </a:lnSpc>
              <a:spcAft>
                <a:spcPts val="800"/>
              </a:spcAft>
              <a:buClrTx/>
            </a:pPr>
            <a:r>
              <a:rPr lang="en-US" sz="1800" kern="1200" dirty="0">
                <a:solidFill>
                  <a:prstClr val="black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upports nearly every Python object type</a:t>
            </a:r>
          </a:p>
        </p:txBody>
      </p:sp>
      <p:grpSp>
        <p:nvGrpSpPr>
          <p:cNvPr id="17" name="Yellow P2 Patch">
            <a:extLst>
              <a:ext uri="{FF2B5EF4-FFF2-40B4-BE49-F238E27FC236}">
                <a16:creationId xmlns:a16="http://schemas.microsoft.com/office/drawing/2014/main" id="{298A565D-C9CC-4197-A5A3-3BC340CB4396}"/>
              </a:ext>
            </a:extLst>
          </p:cNvPr>
          <p:cNvGrpSpPr/>
          <p:nvPr/>
        </p:nvGrpSpPr>
        <p:grpSpPr>
          <a:xfrm>
            <a:off x="204213" y="3734417"/>
            <a:ext cx="5982191" cy="909052"/>
            <a:chOff x="204213" y="1324259"/>
            <a:chExt cx="5982191" cy="909052"/>
          </a:xfrm>
        </p:grpSpPr>
        <p:sp>
          <p:nvSpPr>
            <p:cNvPr id="18" name="Yellow P1 Line">
              <a:extLst>
                <a:ext uri="{FF2B5EF4-FFF2-40B4-BE49-F238E27FC236}">
                  <a16:creationId xmlns:a16="http://schemas.microsoft.com/office/drawing/2014/main" id="{6828F3FA-020E-49BC-8762-67BA3809A7B7}"/>
                </a:ext>
              </a:extLst>
            </p:cNvPr>
            <p:cNvSpPr/>
            <p:nvPr/>
          </p:nvSpPr>
          <p:spPr>
            <a:xfrm flipH="1">
              <a:off x="5691654" y="1563105"/>
              <a:ext cx="410322" cy="195170"/>
            </a:xfrm>
            <a:custGeom>
              <a:avLst/>
              <a:gdLst>
                <a:gd name="connsiteX0" fmla="*/ 0 w 523875"/>
                <a:gd name="connsiteY0" fmla="*/ 523875 h 523875"/>
                <a:gd name="connsiteX1" fmla="*/ 0 w 523875"/>
                <a:gd name="connsiteY1" fmla="*/ 0 h 523875"/>
                <a:gd name="connsiteX2" fmla="*/ 523875 w 523875"/>
                <a:gd name="connsiteY2" fmla="*/ 523875 h 523875"/>
                <a:gd name="connsiteX3" fmla="*/ 0 w 523875"/>
                <a:gd name="connsiteY3" fmla="*/ 523875 h 523875"/>
                <a:gd name="connsiteX0" fmla="*/ 523875 w 615315"/>
                <a:gd name="connsiteY0" fmla="*/ 523875 h 615315"/>
                <a:gd name="connsiteX1" fmla="*/ 0 w 615315"/>
                <a:gd name="connsiteY1" fmla="*/ 523875 h 615315"/>
                <a:gd name="connsiteX2" fmla="*/ 0 w 615315"/>
                <a:gd name="connsiteY2" fmla="*/ 0 h 615315"/>
                <a:gd name="connsiteX3" fmla="*/ 615315 w 615315"/>
                <a:gd name="connsiteY3" fmla="*/ 615315 h 615315"/>
                <a:gd name="connsiteX0" fmla="*/ 523875 w 523875"/>
                <a:gd name="connsiteY0" fmla="*/ 523875 h 523875"/>
                <a:gd name="connsiteX1" fmla="*/ 0 w 523875"/>
                <a:gd name="connsiteY1" fmla="*/ 523875 h 523875"/>
                <a:gd name="connsiteX2" fmla="*/ 0 w 523875"/>
                <a:gd name="connsiteY2" fmla="*/ 0 h 523875"/>
                <a:gd name="connsiteX0" fmla="*/ 523875 w 523875"/>
                <a:gd name="connsiteY0" fmla="*/ 523875 h 523875"/>
                <a:gd name="connsiteX1" fmla="*/ 203200 w 523875"/>
                <a:gd name="connsiteY1" fmla="*/ 523875 h 523875"/>
                <a:gd name="connsiteX2" fmla="*/ 0 w 523875"/>
                <a:gd name="connsiteY2" fmla="*/ 0 h 523875"/>
                <a:gd name="connsiteX0" fmla="*/ 410322 w 410322"/>
                <a:gd name="connsiteY0" fmla="*/ 225052 h 225052"/>
                <a:gd name="connsiteX1" fmla="*/ 89647 w 410322"/>
                <a:gd name="connsiteY1" fmla="*/ 225052 h 225052"/>
                <a:gd name="connsiteX2" fmla="*/ 0 w 410322"/>
                <a:gd name="connsiteY2" fmla="*/ 0 h 225052"/>
                <a:gd name="connsiteX0" fmla="*/ 410322 w 410322"/>
                <a:gd name="connsiteY0" fmla="*/ 225052 h 225052"/>
                <a:gd name="connsiteX1" fmla="*/ 197223 w 410322"/>
                <a:gd name="connsiteY1" fmla="*/ 219075 h 225052"/>
                <a:gd name="connsiteX2" fmla="*/ 0 w 410322"/>
                <a:gd name="connsiteY2" fmla="*/ 0 h 225052"/>
                <a:gd name="connsiteX0" fmla="*/ 410322 w 410322"/>
                <a:gd name="connsiteY0" fmla="*/ 195170 h 195170"/>
                <a:gd name="connsiteX1" fmla="*/ 197223 w 410322"/>
                <a:gd name="connsiteY1" fmla="*/ 189193 h 195170"/>
                <a:gd name="connsiteX2" fmla="*/ 0 w 410322"/>
                <a:gd name="connsiteY2" fmla="*/ 0 h 195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0322" h="195170">
                  <a:moveTo>
                    <a:pt x="410322" y="195170"/>
                  </a:moveTo>
                  <a:lnTo>
                    <a:pt x="197223" y="189193"/>
                  </a:lnTo>
                  <a:lnTo>
                    <a:pt x="0" y="0"/>
                  </a:lnTo>
                </a:path>
              </a:pathLst>
            </a:custGeom>
            <a:noFill/>
            <a:ln w="25400">
              <a:solidFill>
                <a:srgbClr val="7671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19" name="Yellow Small Circle">
              <a:extLst>
                <a:ext uri="{FF2B5EF4-FFF2-40B4-BE49-F238E27FC236}">
                  <a16:creationId xmlns:a16="http://schemas.microsoft.com/office/drawing/2014/main" id="{F58521C0-726D-4C42-8FA4-DB48DBFE64F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011716" y="1469783"/>
              <a:ext cx="174688" cy="174688"/>
              <a:chOff x="5980364" y="1469777"/>
              <a:chExt cx="291146" cy="291146"/>
            </a:xfrm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5A770857-A677-4086-922C-EEBE35699CF7}"/>
                  </a:ext>
                </a:extLst>
              </p:cNvPr>
              <p:cNvSpPr/>
              <p:nvPr/>
            </p:nvSpPr>
            <p:spPr>
              <a:xfrm>
                <a:off x="5980364" y="1469777"/>
                <a:ext cx="291146" cy="291146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F4AB3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6314757B-7F99-4F4E-8F91-3D70B42739C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5" y="1499488"/>
                <a:ext cx="231725" cy="231725"/>
              </a:xfrm>
              <a:prstGeom prst="ellipse">
                <a:avLst/>
              </a:prstGeom>
              <a:solidFill>
                <a:srgbClr val="F4AB35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</p:grpSp>
        <p:grpSp>
          <p:nvGrpSpPr>
            <p:cNvPr id="20" name="Yellow Patch">
              <a:extLst>
                <a:ext uri="{FF2B5EF4-FFF2-40B4-BE49-F238E27FC236}">
                  <a16:creationId xmlns:a16="http://schemas.microsoft.com/office/drawing/2014/main" id="{D22CBB71-8D73-4DD6-9EAD-31C8914767F4}"/>
                </a:ext>
              </a:extLst>
            </p:cNvPr>
            <p:cNvGrpSpPr/>
            <p:nvPr/>
          </p:nvGrpSpPr>
          <p:grpSpPr>
            <a:xfrm>
              <a:off x="204213" y="1324259"/>
              <a:ext cx="5565686" cy="909052"/>
              <a:chOff x="204213" y="1324259"/>
              <a:chExt cx="5565686" cy="909052"/>
            </a:xfrm>
          </p:grpSpPr>
          <p:sp>
            <p:nvSpPr>
              <p:cNvPr id="24" name="Rectangle: Rounded Corners 23">
                <a:extLst>
                  <a:ext uri="{FF2B5EF4-FFF2-40B4-BE49-F238E27FC236}">
                    <a16:creationId xmlns:a16="http://schemas.microsoft.com/office/drawing/2014/main" id="{AD001DC0-B41C-4AEC-BA53-7E90AF3680E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43130" y="1331632"/>
                <a:ext cx="5426769" cy="886929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38100">
                <a:solidFill>
                  <a:srgbClr val="F4AB3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25" name="Rectangle 29">
                <a:extLst>
                  <a:ext uri="{FF2B5EF4-FFF2-40B4-BE49-F238E27FC236}">
                    <a16:creationId xmlns:a16="http://schemas.microsoft.com/office/drawing/2014/main" id="{CA456864-FC84-4839-B820-33EE67FEFBA6}"/>
                  </a:ext>
                </a:extLst>
              </p:cNvPr>
              <p:cNvSpPr/>
              <p:nvPr/>
            </p:nvSpPr>
            <p:spPr>
              <a:xfrm>
                <a:off x="204213" y="1324259"/>
                <a:ext cx="4216872" cy="909052"/>
              </a:xfrm>
              <a:custGeom>
                <a:avLst/>
                <a:gdLst>
                  <a:gd name="connsiteX0" fmla="*/ 0 w 4324832"/>
                  <a:gd name="connsiteY0" fmla="*/ 0 h 886929"/>
                  <a:gd name="connsiteX1" fmla="*/ 4324832 w 4324832"/>
                  <a:gd name="connsiteY1" fmla="*/ 0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22122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901678"/>
                  <a:gd name="connsiteX1" fmla="*/ 4324832 w 4324832"/>
                  <a:gd name="connsiteY1" fmla="*/ 36871 h 901678"/>
                  <a:gd name="connsiteX2" fmla="*/ 4324832 w 4324832"/>
                  <a:gd name="connsiteY2" fmla="*/ 879556 h 901678"/>
                  <a:gd name="connsiteX3" fmla="*/ 0 w 4324832"/>
                  <a:gd name="connsiteY3" fmla="*/ 901678 h 901678"/>
                  <a:gd name="connsiteX4" fmla="*/ 0 w 4324832"/>
                  <a:gd name="connsiteY4" fmla="*/ 0 h 901678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31176"/>
                  <a:gd name="connsiteX1" fmla="*/ 4324832 w 4324832"/>
                  <a:gd name="connsiteY1" fmla="*/ 36871 h 931176"/>
                  <a:gd name="connsiteX2" fmla="*/ 4324832 w 4324832"/>
                  <a:gd name="connsiteY2" fmla="*/ 879556 h 931176"/>
                  <a:gd name="connsiteX3" fmla="*/ 0 w 4324832"/>
                  <a:gd name="connsiteY3" fmla="*/ 931176 h 931176"/>
                  <a:gd name="connsiteX4" fmla="*/ 0 w 4324832"/>
                  <a:gd name="connsiteY4" fmla="*/ 0 h 931176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09052"/>
                  <a:gd name="connsiteX1" fmla="*/ 4324832 w 4324832"/>
                  <a:gd name="connsiteY1" fmla="*/ 29496 h 909052"/>
                  <a:gd name="connsiteX2" fmla="*/ 4324832 w 4324832"/>
                  <a:gd name="connsiteY2" fmla="*/ 872181 h 909052"/>
                  <a:gd name="connsiteX3" fmla="*/ 0 w 4324832"/>
                  <a:gd name="connsiteY3" fmla="*/ 909052 h 909052"/>
                  <a:gd name="connsiteX4" fmla="*/ 0 w 4324832"/>
                  <a:gd name="connsiteY4" fmla="*/ 0 h 90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4832" h="909052">
                    <a:moveTo>
                      <a:pt x="0" y="0"/>
                    </a:moveTo>
                    <a:lnTo>
                      <a:pt x="4324832" y="29496"/>
                    </a:lnTo>
                    <a:lnTo>
                      <a:pt x="4324832" y="872181"/>
                    </a:lnTo>
                    <a:lnTo>
                      <a:pt x="0" y="9090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</p:grpSp>
        <p:grpSp>
          <p:nvGrpSpPr>
            <p:cNvPr id="21" name="Yellow Big Circle">
              <a:extLst>
                <a:ext uri="{FF2B5EF4-FFF2-40B4-BE49-F238E27FC236}">
                  <a16:creationId xmlns:a16="http://schemas.microsoft.com/office/drawing/2014/main" id="{1DD9E5FF-C3A4-4123-87C3-E5F1E84E122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85235" y="1590023"/>
              <a:ext cx="351252" cy="351252"/>
              <a:chOff x="5980364" y="1469777"/>
              <a:chExt cx="291146" cy="291146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3029717C-3A40-4A85-B313-F7A846DB3A7E}"/>
                  </a:ext>
                </a:extLst>
              </p:cNvPr>
              <p:cNvSpPr/>
              <p:nvPr/>
            </p:nvSpPr>
            <p:spPr>
              <a:xfrm>
                <a:off x="5980364" y="1469777"/>
                <a:ext cx="291146" cy="291146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F4AB3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418A4027-C273-4737-8D66-95343340DEA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5" y="1499488"/>
                <a:ext cx="231725" cy="231725"/>
              </a:xfrm>
              <a:prstGeom prst="ellipse">
                <a:avLst/>
              </a:prstGeom>
              <a:solidFill>
                <a:srgbClr val="F4AB35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</p:grpSp>
      </p:grpSp>
      <p:sp>
        <p:nvSpPr>
          <p:cNvPr id="28" name="Yellow P2">
            <a:extLst>
              <a:ext uri="{FF2B5EF4-FFF2-40B4-BE49-F238E27FC236}">
                <a16:creationId xmlns:a16="http://schemas.microsoft.com/office/drawing/2014/main" id="{FF2A818F-250C-4BB5-A84F-6987E2DA99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8032" y="3995139"/>
            <a:ext cx="4307185" cy="363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ctr" anchorCtr="0">
            <a:spAutoFit/>
          </a:bodyPr>
          <a:lstStyle/>
          <a:p>
            <a:pPr lvl="0" algn="r">
              <a:lnSpc>
                <a:spcPct val="107000"/>
              </a:lnSpc>
              <a:spcAft>
                <a:spcPts val="800"/>
              </a:spcAft>
              <a:buClrTx/>
            </a:pPr>
            <a:r>
              <a:rPr lang="en-US" sz="1800" kern="1200" dirty="0">
                <a:solidFill>
                  <a:prstClr val="black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upports fewer data types</a:t>
            </a:r>
          </a:p>
        </p:txBody>
      </p:sp>
      <p:grpSp>
        <p:nvGrpSpPr>
          <p:cNvPr id="77" name="Blue P1 Patch">
            <a:extLst>
              <a:ext uri="{FF2B5EF4-FFF2-40B4-BE49-F238E27FC236}">
                <a16:creationId xmlns:a16="http://schemas.microsoft.com/office/drawing/2014/main" id="{6C806D8A-5F69-4969-977A-3FBE8B7F34D0}"/>
              </a:ext>
            </a:extLst>
          </p:cNvPr>
          <p:cNvGrpSpPr/>
          <p:nvPr/>
        </p:nvGrpSpPr>
        <p:grpSpPr>
          <a:xfrm flipH="1">
            <a:off x="6011174" y="2532418"/>
            <a:ext cx="6085088" cy="909052"/>
            <a:chOff x="101316" y="1324259"/>
            <a:chExt cx="6085088" cy="909052"/>
          </a:xfrm>
        </p:grpSpPr>
        <p:sp>
          <p:nvSpPr>
            <p:cNvPr id="78" name="Yellow P1 Line">
              <a:extLst>
                <a:ext uri="{FF2B5EF4-FFF2-40B4-BE49-F238E27FC236}">
                  <a16:creationId xmlns:a16="http://schemas.microsoft.com/office/drawing/2014/main" id="{35A46B0B-D1D2-421F-A0C6-24602D7274E0}"/>
                </a:ext>
              </a:extLst>
            </p:cNvPr>
            <p:cNvSpPr/>
            <p:nvPr/>
          </p:nvSpPr>
          <p:spPr>
            <a:xfrm flipH="1">
              <a:off x="5691654" y="1752299"/>
              <a:ext cx="405297" cy="142402"/>
            </a:xfrm>
            <a:custGeom>
              <a:avLst/>
              <a:gdLst>
                <a:gd name="connsiteX0" fmla="*/ 0 w 523875"/>
                <a:gd name="connsiteY0" fmla="*/ 523875 h 523875"/>
                <a:gd name="connsiteX1" fmla="*/ 0 w 523875"/>
                <a:gd name="connsiteY1" fmla="*/ 0 h 523875"/>
                <a:gd name="connsiteX2" fmla="*/ 523875 w 523875"/>
                <a:gd name="connsiteY2" fmla="*/ 523875 h 523875"/>
                <a:gd name="connsiteX3" fmla="*/ 0 w 523875"/>
                <a:gd name="connsiteY3" fmla="*/ 523875 h 523875"/>
                <a:gd name="connsiteX0" fmla="*/ 523875 w 615315"/>
                <a:gd name="connsiteY0" fmla="*/ 523875 h 615315"/>
                <a:gd name="connsiteX1" fmla="*/ 0 w 615315"/>
                <a:gd name="connsiteY1" fmla="*/ 523875 h 615315"/>
                <a:gd name="connsiteX2" fmla="*/ 0 w 615315"/>
                <a:gd name="connsiteY2" fmla="*/ 0 h 615315"/>
                <a:gd name="connsiteX3" fmla="*/ 615315 w 615315"/>
                <a:gd name="connsiteY3" fmla="*/ 615315 h 615315"/>
                <a:gd name="connsiteX0" fmla="*/ 523875 w 523875"/>
                <a:gd name="connsiteY0" fmla="*/ 523875 h 523875"/>
                <a:gd name="connsiteX1" fmla="*/ 0 w 523875"/>
                <a:gd name="connsiteY1" fmla="*/ 523875 h 523875"/>
                <a:gd name="connsiteX2" fmla="*/ 0 w 523875"/>
                <a:gd name="connsiteY2" fmla="*/ 0 h 523875"/>
                <a:gd name="connsiteX0" fmla="*/ 523875 w 523875"/>
                <a:gd name="connsiteY0" fmla="*/ 523875 h 523875"/>
                <a:gd name="connsiteX1" fmla="*/ 203200 w 523875"/>
                <a:gd name="connsiteY1" fmla="*/ 523875 h 523875"/>
                <a:gd name="connsiteX2" fmla="*/ 0 w 523875"/>
                <a:gd name="connsiteY2" fmla="*/ 0 h 523875"/>
                <a:gd name="connsiteX0" fmla="*/ 410322 w 410322"/>
                <a:gd name="connsiteY0" fmla="*/ 225052 h 225052"/>
                <a:gd name="connsiteX1" fmla="*/ 89647 w 410322"/>
                <a:gd name="connsiteY1" fmla="*/ 225052 h 225052"/>
                <a:gd name="connsiteX2" fmla="*/ 0 w 410322"/>
                <a:gd name="connsiteY2" fmla="*/ 0 h 225052"/>
                <a:gd name="connsiteX0" fmla="*/ 410322 w 410322"/>
                <a:gd name="connsiteY0" fmla="*/ 225052 h 225052"/>
                <a:gd name="connsiteX1" fmla="*/ 197223 w 410322"/>
                <a:gd name="connsiteY1" fmla="*/ 219075 h 225052"/>
                <a:gd name="connsiteX2" fmla="*/ 0 w 410322"/>
                <a:gd name="connsiteY2" fmla="*/ 0 h 225052"/>
                <a:gd name="connsiteX0" fmla="*/ 410322 w 410322"/>
                <a:gd name="connsiteY0" fmla="*/ 195170 h 195170"/>
                <a:gd name="connsiteX1" fmla="*/ 197223 w 410322"/>
                <a:gd name="connsiteY1" fmla="*/ 189193 h 195170"/>
                <a:gd name="connsiteX2" fmla="*/ 0 w 410322"/>
                <a:gd name="connsiteY2" fmla="*/ 0 h 195170"/>
                <a:gd name="connsiteX0" fmla="*/ 405297 w 405297"/>
                <a:gd name="connsiteY0" fmla="*/ 5977 h 142402"/>
                <a:gd name="connsiteX1" fmla="*/ 192198 w 405297"/>
                <a:gd name="connsiteY1" fmla="*/ 0 h 142402"/>
                <a:gd name="connsiteX2" fmla="*/ 0 w 405297"/>
                <a:gd name="connsiteY2" fmla="*/ 142402 h 142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5297" h="142402">
                  <a:moveTo>
                    <a:pt x="405297" y="5977"/>
                  </a:moveTo>
                  <a:lnTo>
                    <a:pt x="192198" y="0"/>
                  </a:lnTo>
                  <a:lnTo>
                    <a:pt x="0" y="142402"/>
                  </a:lnTo>
                </a:path>
              </a:pathLst>
            </a:custGeom>
            <a:noFill/>
            <a:ln w="25400">
              <a:solidFill>
                <a:srgbClr val="7671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79" name="Yellow Small Circle">
              <a:extLst>
                <a:ext uri="{FF2B5EF4-FFF2-40B4-BE49-F238E27FC236}">
                  <a16:creationId xmlns:a16="http://schemas.microsoft.com/office/drawing/2014/main" id="{24F1ECA1-D902-458C-A9CE-C6508CCD1F2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011716" y="1794246"/>
              <a:ext cx="174688" cy="174688"/>
              <a:chOff x="5980364" y="2010546"/>
              <a:chExt cx="291146" cy="291145"/>
            </a:xfrm>
          </p:grpSpPr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2F2A87A6-BF10-40DA-B690-FB87FCABB212}"/>
                  </a:ext>
                </a:extLst>
              </p:cNvPr>
              <p:cNvSpPr/>
              <p:nvPr/>
            </p:nvSpPr>
            <p:spPr>
              <a:xfrm>
                <a:off x="5980364" y="2010546"/>
                <a:ext cx="291146" cy="291145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4890E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8CCF19FE-EA2E-42E5-80DF-3AA5AADD12C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6" y="2040252"/>
                <a:ext cx="231724" cy="231724"/>
              </a:xfrm>
              <a:prstGeom prst="ellipse">
                <a:avLst/>
              </a:prstGeom>
              <a:solidFill>
                <a:srgbClr val="4890E4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</p:grpSp>
        <p:grpSp>
          <p:nvGrpSpPr>
            <p:cNvPr id="80" name="Yellow Patch">
              <a:extLst>
                <a:ext uri="{FF2B5EF4-FFF2-40B4-BE49-F238E27FC236}">
                  <a16:creationId xmlns:a16="http://schemas.microsoft.com/office/drawing/2014/main" id="{897BA76C-E390-4C3A-A777-71F48DFF8DA3}"/>
                </a:ext>
              </a:extLst>
            </p:cNvPr>
            <p:cNvGrpSpPr/>
            <p:nvPr/>
          </p:nvGrpSpPr>
          <p:grpSpPr>
            <a:xfrm>
              <a:off x="101316" y="1324259"/>
              <a:ext cx="5668583" cy="909052"/>
              <a:chOff x="101316" y="1324259"/>
              <a:chExt cx="5668583" cy="909052"/>
            </a:xfrm>
          </p:grpSpPr>
          <p:sp>
            <p:nvSpPr>
              <p:cNvPr id="84" name="Rectangle: Rounded Corners 83">
                <a:extLst>
                  <a:ext uri="{FF2B5EF4-FFF2-40B4-BE49-F238E27FC236}">
                    <a16:creationId xmlns:a16="http://schemas.microsoft.com/office/drawing/2014/main" id="{377C9526-37BD-459A-9906-322E66CB81E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43130" y="1331632"/>
                <a:ext cx="5426769" cy="886929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38100">
                <a:solidFill>
                  <a:srgbClr val="4890E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85" name="Rectangle 29">
                <a:extLst>
                  <a:ext uri="{FF2B5EF4-FFF2-40B4-BE49-F238E27FC236}">
                    <a16:creationId xmlns:a16="http://schemas.microsoft.com/office/drawing/2014/main" id="{6B6F226D-E137-4377-8535-99B0C8578BA9}"/>
                  </a:ext>
                </a:extLst>
              </p:cNvPr>
              <p:cNvSpPr/>
              <p:nvPr/>
            </p:nvSpPr>
            <p:spPr>
              <a:xfrm>
                <a:off x="101316" y="1324259"/>
                <a:ext cx="4319769" cy="909052"/>
              </a:xfrm>
              <a:custGeom>
                <a:avLst/>
                <a:gdLst>
                  <a:gd name="connsiteX0" fmla="*/ 0 w 4324832"/>
                  <a:gd name="connsiteY0" fmla="*/ 0 h 886929"/>
                  <a:gd name="connsiteX1" fmla="*/ 4324832 w 4324832"/>
                  <a:gd name="connsiteY1" fmla="*/ 0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22122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901678"/>
                  <a:gd name="connsiteX1" fmla="*/ 4324832 w 4324832"/>
                  <a:gd name="connsiteY1" fmla="*/ 36871 h 901678"/>
                  <a:gd name="connsiteX2" fmla="*/ 4324832 w 4324832"/>
                  <a:gd name="connsiteY2" fmla="*/ 879556 h 901678"/>
                  <a:gd name="connsiteX3" fmla="*/ 0 w 4324832"/>
                  <a:gd name="connsiteY3" fmla="*/ 901678 h 901678"/>
                  <a:gd name="connsiteX4" fmla="*/ 0 w 4324832"/>
                  <a:gd name="connsiteY4" fmla="*/ 0 h 901678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31176"/>
                  <a:gd name="connsiteX1" fmla="*/ 4324832 w 4324832"/>
                  <a:gd name="connsiteY1" fmla="*/ 36871 h 931176"/>
                  <a:gd name="connsiteX2" fmla="*/ 4324832 w 4324832"/>
                  <a:gd name="connsiteY2" fmla="*/ 879556 h 931176"/>
                  <a:gd name="connsiteX3" fmla="*/ 0 w 4324832"/>
                  <a:gd name="connsiteY3" fmla="*/ 931176 h 931176"/>
                  <a:gd name="connsiteX4" fmla="*/ 0 w 4324832"/>
                  <a:gd name="connsiteY4" fmla="*/ 0 h 931176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09052"/>
                  <a:gd name="connsiteX1" fmla="*/ 4324832 w 4324832"/>
                  <a:gd name="connsiteY1" fmla="*/ 29496 h 909052"/>
                  <a:gd name="connsiteX2" fmla="*/ 4324832 w 4324832"/>
                  <a:gd name="connsiteY2" fmla="*/ 872181 h 909052"/>
                  <a:gd name="connsiteX3" fmla="*/ 0 w 4324832"/>
                  <a:gd name="connsiteY3" fmla="*/ 909052 h 909052"/>
                  <a:gd name="connsiteX4" fmla="*/ 0 w 4324832"/>
                  <a:gd name="connsiteY4" fmla="*/ 0 h 90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4832" h="909052">
                    <a:moveTo>
                      <a:pt x="0" y="0"/>
                    </a:moveTo>
                    <a:lnTo>
                      <a:pt x="4324832" y="29496"/>
                    </a:lnTo>
                    <a:lnTo>
                      <a:pt x="4324832" y="872181"/>
                    </a:lnTo>
                    <a:lnTo>
                      <a:pt x="0" y="9090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</p:grpSp>
        <p:grpSp>
          <p:nvGrpSpPr>
            <p:cNvPr id="81" name="Yellow Big Circle">
              <a:extLst>
                <a:ext uri="{FF2B5EF4-FFF2-40B4-BE49-F238E27FC236}">
                  <a16:creationId xmlns:a16="http://schemas.microsoft.com/office/drawing/2014/main" id="{37BA9F99-705D-4089-ABA7-BD8CB4B630A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85235" y="1590023"/>
              <a:ext cx="351252" cy="351252"/>
              <a:chOff x="5980364" y="1469777"/>
              <a:chExt cx="291146" cy="291146"/>
            </a:xfrm>
          </p:grpSpPr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E7902B14-25DE-4A7B-BC91-C4909DDA4DF7}"/>
                  </a:ext>
                </a:extLst>
              </p:cNvPr>
              <p:cNvSpPr/>
              <p:nvPr/>
            </p:nvSpPr>
            <p:spPr>
              <a:xfrm>
                <a:off x="5980364" y="1469777"/>
                <a:ext cx="291146" cy="291146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4890E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B91F949C-2D44-4F91-97CE-F89D1126FE7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5" y="1499488"/>
                <a:ext cx="231725" cy="231725"/>
              </a:xfrm>
              <a:prstGeom prst="ellipse">
                <a:avLst/>
              </a:prstGeom>
              <a:solidFill>
                <a:srgbClr val="4890E4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</p:grpSp>
      </p:grpSp>
      <p:sp>
        <p:nvSpPr>
          <p:cNvPr id="88" name="Blue P1">
            <a:extLst>
              <a:ext uri="{FF2B5EF4-FFF2-40B4-BE49-F238E27FC236}">
                <a16:creationId xmlns:a16="http://schemas.microsoft.com/office/drawing/2014/main" id="{F29A2C37-42AA-4814-9ACB-1FC99AB9B6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51261" y="2793140"/>
            <a:ext cx="4307185" cy="363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ctr" anchorCtr="0">
            <a:spAutoFit/>
          </a:bodyPr>
          <a:lstStyle/>
          <a:p>
            <a:pPr lvl="0">
              <a:lnSpc>
                <a:spcPct val="107000"/>
              </a:lnSpc>
              <a:spcAft>
                <a:spcPts val="800"/>
              </a:spcAft>
              <a:buClrTx/>
            </a:pPr>
            <a:r>
              <a:rPr lang="en-US" sz="1800" kern="1200" dirty="0">
                <a:solidFill>
                  <a:prstClr val="black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omparatively slower</a:t>
            </a:r>
          </a:p>
        </p:txBody>
      </p:sp>
      <p:grpSp>
        <p:nvGrpSpPr>
          <p:cNvPr id="89" name="Yellow P1 Patch">
            <a:extLst>
              <a:ext uri="{FF2B5EF4-FFF2-40B4-BE49-F238E27FC236}">
                <a16:creationId xmlns:a16="http://schemas.microsoft.com/office/drawing/2014/main" id="{7F6D411E-7E8B-47D0-8A6C-798BE9EEC2E6}"/>
              </a:ext>
            </a:extLst>
          </p:cNvPr>
          <p:cNvGrpSpPr/>
          <p:nvPr/>
        </p:nvGrpSpPr>
        <p:grpSpPr>
          <a:xfrm>
            <a:off x="204213" y="2532418"/>
            <a:ext cx="5982191" cy="909052"/>
            <a:chOff x="204213" y="1324259"/>
            <a:chExt cx="5982191" cy="909052"/>
          </a:xfrm>
        </p:grpSpPr>
        <p:sp>
          <p:nvSpPr>
            <p:cNvPr id="90" name="Yellow P1 Line">
              <a:extLst>
                <a:ext uri="{FF2B5EF4-FFF2-40B4-BE49-F238E27FC236}">
                  <a16:creationId xmlns:a16="http://schemas.microsoft.com/office/drawing/2014/main" id="{1CBB9BE1-5EBE-4C82-9061-3A687DBFC921}"/>
                </a:ext>
              </a:extLst>
            </p:cNvPr>
            <p:cNvSpPr/>
            <p:nvPr/>
          </p:nvSpPr>
          <p:spPr>
            <a:xfrm flipH="1">
              <a:off x="5691654" y="1563105"/>
              <a:ext cx="410322" cy="195170"/>
            </a:xfrm>
            <a:custGeom>
              <a:avLst/>
              <a:gdLst>
                <a:gd name="connsiteX0" fmla="*/ 0 w 523875"/>
                <a:gd name="connsiteY0" fmla="*/ 523875 h 523875"/>
                <a:gd name="connsiteX1" fmla="*/ 0 w 523875"/>
                <a:gd name="connsiteY1" fmla="*/ 0 h 523875"/>
                <a:gd name="connsiteX2" fmla="*/ 523875 w 523875"/>
                <a:gd name="connsiteY2" fmla="*/ 523875 h 523875"/>
                <a:gd name="connsiteX3" fmla="*/ 0 w 523875"/>
                <a:gd name="connsiteY3" fmla="*/ 523875 h 523875"/>
                <a:gd name="connsiteX0" fmla="*/ 523875 w 615315"/>
                <a:gd name="connsiteY0" fmla="*/ 523875 h 615315"/>
                <a:gd name="connsiteX1" fmla="*/ 0 w 615315"/>
                <a:gd name="connsiteY1" fmla="*/ 523875 h 615315"/>
                <a:gd name="connsiteX2" fmla="*/ 0 w 615315"/>
                <a:gd name="connsiteY2" fmla="*/ 0 h 615315"/>
                <a:gd name="connsiteX3" fmla="*/ 615315 w 615315"/>
                <a:gd name="connsiteY3" fmla="*/ 615315 h 615315"/>
                <a:gd name="connsiteX0" fmla="*/ 523875 w 523875"/>
                <a:gd name="connsiteY0" fmla="*/ 523875 h 523875"/>
                <a:gd name="connsiteX1" fmla="*/ 0 w 523875"/>
                <a:gd name="connsiteY1" fmla="*/ 523875 h 523875"/>
                <a:gd name="connsiteX2" fmla="*/ 0 w 523875"/>
                <a:gd name="connsiteY2" fmla="*/ 0 h 523875"/>
                <a:gd name="connsiteX0" fmla="*/ 523875 w 523875"/>
                <a:gd name="connsiteY0" fmla="*/ 523875 h 523875"/>
                <a:gd name="connsiteX1" fmla="*/ 203200 w 523875"/>
                <a:gd name="connsiteY1" fmla="*/ 523875 h 523875"/>
                <a:gd name="connsiteX2" fmla="*/ 0 w 523875"/>
                <a:gd name="connsiteY2" fmla="*/ 0 h 523875"/>
                <a:gd name="connsiteX0" fmla="*/ 410322 w 410322"/>
                <a:gd name="connsiteY0" fmla="*/ 225052 h 225052"/>
                <a:gd name="connsiteX1" fmla="*/ 89647 w 410322"/>
                <a:gd name="connsiteY1" fmla="*/ 225052 h 225052"/>
                <a:gd name="connsiteX2" fmla="*/ 0 w 410322"/>
                <a:gd name="connsiteY2" fmla="*/ 0 h 225052"/>
                <a:gd name="connsiteX0" fmla="*/ 410322 w 410322"/>
                <a:gd name="connsiteY0" fmla="*/ 225052 h 225052"/>
                <a:gd name="connsiteX1" fmla="*/ 197223 w 410322"/>
                <a:gd name="connsiteY1" fmla="*/ 219075 h 225052"/>
                <a:gd name="connsiteX2" fmla="*/ 0 w 410322"/>
                <a:gd name="connsiteY2" fmla="*/ 0 h 225052"/>
                <a:gd name="connsiteX0" fmla="*/ 410322 w 410322"/>
                <a:gd name="connsiteY0" fmla="*/ 195170 h 195170"/>
                <a:gd name="connsiteX1" fmla="*/ 197223 w 410322"/>
                <a:gd name="connsiteY1" fmla="*/ 189193 h 195170"/>
                <a:gd name="connsiteX2" fmla="*/ 0 w 410322"/>
                <a:gd name="connsiteY2" fmla="*/ 0 h 195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0322" h="195170">
                  <a:moveTo>
                    <a:pt x="410322" y="195170"/>
                  </a:moveTo>
                  <a:lnTo>
                    <a:pt x="197223" y="189193"/>
                  </a:lnTo>
                  <a:lnTo>
                    <a:pt x="0" y="0"/>
                  </a:lnTo>
                </a:path>
              </a:pathLst>
            </a:custGeom>
            <a:noFill/>
            <a:ln w="25400">
              <a:solidFill>
                <a:srgbClr val="7671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91" name="Yellow Small Circle">
              <a:extLst>
                <a:ext uri="{FF2B5EF4-FFF2-40B4-BE49-F238E27FC236}">
                  <a16:creationId xmlns:a16="http://schemas.microsoft.com/office/drawing/2014/main" id="{9701EC90-0E97-4AEE-AB72-7F12CA06DFE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011716" y="1469783"/>
              <a:ext cx="174688" cy="174688"/>
              <a:chOff x="5980364" y="1469777"/>
              <a:chExt cx="291146" cy="291146"/>
            </a:xfrm>
          </p:grpSpPr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411D0254-7FEC-4116-9311-08C9013AFFAD}"/>
                  </a:ext>
                </a:extLst>
              </p:cNvPr>
              <p:cNvSpPr/>
              <p:nvPr/>
            </p:nvSpPr>
            <p:spPr>
              <a:xfrm>
                <a:off x="5980364" y="1469777"/>
                <a:ext cx="291146" cy="291146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F4AB3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E003E720-704B-45F7-936C-7E41A120B3F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5" y="1499488"/>
                <a:ext cx="231725" cy="231725"/>
              </a:xfrm>
              <a:prstGeom prst="ellipse">
                <a:avLst/>
              </a:prstGeom>
              <a:solidFill>
                <a:srgbClr val="F4AB35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</p:grpSp>
        <p:grpSp>
          <p:nvGrpSpPr>
            <p:cNvPr id="92" name="Yellow Patch">
              <a:extLst>
                <a:ext uri="{FF2B5EF4-FFF2-40B4-BE49-F238E27FC236}">
                  <a16:creationId xmlns:a16="http://schemas.microsoft.com/office/drawing/2014/main" id="{4434EAF0-57FA-4E8A-8E1E-DD91DCAB32B4}"/>
                </a:ext>
              </a:extLst>
            </p:cNvPr>
            <p:cNvGrpSpPr/>
            <p:nvPr/>
          </p:nvGrpSpPr>
          <p:grpSpPr>
            <a:xfrm>
              <a:off x="204213" y="1324259"/>
              <a:ext cx="5565686" cy="909052"/>
              <a:chOff x="204213" y="1324259"/>
              <a:chExt cx="5565686" cy="909052"/>
            </a:xfrm>
          </p:grpSpPr>
          <p:sp>
            <p:nvSpPr>
              <p:cNvPr id="96" name="Rectangle: Rounded Corners 95">
                <a:extLst>
                  <a:ext uri="{FF2B5EF4-FFF2-40B4-BE49-F238E27FC236}">
                    <a16:creationId xmlns:a16="http://schemas.microsoft.com/office/drawing/2014/main" id="{DC364EF7-E20F-4AE3-978F-16FCFD61EB1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43130" y="1331632"/>
                <a:ext cx="5426769" cy="886929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38100">
                <a:solidFill>
                  <a:srgbClr val="F4AB3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97" name="Rectangle 29">
                <a:extLst>
                  <a:ext uri="{FF2B5EF4-FFF2-40B4-BE49-F238E27FC236}">
                    <a16:creationId xmlns:a16="http://schemas.microsoft.com/office/drawing/2014/main" id="{0B7A417C-226B-4086-81B5-E9575F1E9A61}"/>
                  </a:ext>
                </a:extLst>
              </p:cNvPr>
              <p:cNvSpPr/>
              <p:nvPr/>
            </p:nvSpPr>
            <p:spPr>
              <a:xfrm>
                <a:off x="204213" y="1324259"/>
                <a:ext cx="4216872" cy="909052"/>
              </a:xfrm>
              <a:custGeom>
                <a:avLst/>
                <a:gdLst>
                  <a:gd name="connsiteX0" fmla="*/ 0 w 4324832"/>
                  <a:gd name="connsiteY0" fmla="*/ 0 h 886929"/>
                  <a:gd name="connsiteX1" fmla="*/ 4324832 w 4324832"/>
                  <a:gd name="connsiteY1" fmla="*/ 0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22122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901678"/>
                  <a:gd name="connsiteX1" fmla="*/ 4324832 w 4324832"/>
                  <a:gd name="connsiteY1" fmla="*/ 36871 h 901678"/>
                  <a:gd name="connsiteX2" fmla="*/ 4324832 w 4324832"/>
                  <a:gd name="connsiteY2" fmla="*/ 879556 h 901678"/>
                  <a:gd name="connsiteX3" fmla="*/ 0 w 4324832"/>
                  <a:gd name="connsiteY3" fmla="*/ 901678 h 901678"/>
                  <a:gd name="connsiteX4" fmla="*/ 0 w 4324832"/>
                  <a:gd name="connsiteY4" fmla="*/ 0 h 901678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31176"/>
                  <a:gd name="connsiteX1" fmla="*/ 4324832 w 4324832"/>
                  <a:gd name="connsiteY1" fmla="*/ 36871 h 931176"/>
                  <a:gd name="connsiteX2" fmla="*/ 4324832 w 4324832"/>
                  <a:gd name="connsiteY2" fmla="*/ 879556 h 931176"/>
                  <a:gd name="connsiteX3" fmla="*/ 0 w 4324832"/>
                  <a:gd name="connsiteY3" fmla="*/ 931176 h 931176"/>
                  <a:gd name="connsiteX4" fmla="*/ 0 w 4324832"/>
                  <a:gd name="connsiteY4" fmla="*/ 0 h 931176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09052"/>
                  <a:gd name="connsiteX1" fmla="*/ 4324832 w 4324832"/>
                  <a:gd name="connsiteY1" fmla="*/ 29496 h 909052"/>
                  <a:gd name="connsiteX2" fmla="*/ 4324832 w 4324832"/>
                  <a:gd name="connsiteY2" fmla="*/ 872181 h 909052"/>
                  <a:gd name="connsiteX3" fmla="*/ 0 w 4324832"/>
                  <a:gd name="connsiteY3" fmla="*/ 909052 h 909052"/>
                  <a:gd name="connsiteX4" fmla="*/ 0 w 4324832"/>
                  <a:gd name="connsiteY4" fmla="*/ 0 h 90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4832" h="909052">
                    <a:moveTo>
                      <a:pt x="0" y="0"/>
                    </a:moveTo>
                    <a:lnTo>
                      <a:pt x="4324832" y="29496"/>
                    </a:lnTo>
                    <a:lnTo>
                      <a:pt x="4324832" y="872181"/>
                    </a:lnTo>
                    <a:lnTo>
                      <a:pt x="0" y="9090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</p:grpSp>
        <p:grpSp>
          <p:nvGrpSpPr>
            <p:cNvPr id="93" name="Yellow Big Circle">
              <a:extLst>
                <a:ext uri="{FF2B5EF4-FFF2-40B4-BE49-F238E27FC236}">
                  <a16:creationId xmlns:a16="http://schemas.microsoft.com/office/drawing/2014/main" id="{CEC92A91-9F8B-405F-B3D4-A7A862F88E0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85235" y="1590023"/>
              <a:ext cx="351252" cy="351252"/>
              <a:chOff x="5980364" y="1469777"/>
              <a:chExt cx="291146" cy="291146"/>
            </a:xfrm>
          </p:grpSpPr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BB90A652-4350-40E1-880B-869066493CB0}"/>
                  </a:ext>
                </a:extLst>
              </p:cNvPr>
              <p:cNvSpPr/>
              <p:nvPr/>
            </p:nvSpPr>
            <p:spPr>
              <a:xfrm>
                <a:off x="5980364" y="1469777"/>
                <a:ext cx="291146" cy="291146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F4AB3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0DEFFA1F-06A5-4A6A-8435-4D758FB65A6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5" y="1499488"/>
                <a:ext cx="231725" cy="231725"/>
              </a:xfrm>
              <a:prstGeom prst="ellipse">
                <a:avLst/>
              </a:prstGeom>
              <a:solidFill>
                <a:srgbClr val="F4AB35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</p:grpSp>
      </p:grpSp>
      <p:sp>
        <p:nvSpPr>
          <p:cNvPr id="100" name="Yellow P1">
            <a:extLst>
              <a:ext uri="{FF2B5EF4-FFF2-40B4-BE49-F238E27FC236}">
                <a16:creationId xmlns:a16="http://schemas.microsoft.com/office/drawing/2014/main" id="{28DD376D-E408-458C-9BD9-6B34D36C4D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8032" y="2793139"/>
            <a:ext cx="4307185" cy="363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ctr" anchorCtr="0">
            <a:spAutoFit/>
          </a:bodyPr>
          <a:lstStyle/>
          <a:p>
            <a:pPr lvl="0" algn="r">
              <a:lnSpc>
                <a:spcPct val="107000"/>
              </a:lnSpc>
              <a:spcAft>
                <a:spcPts val="800"/>
              </a:spcAft>
              <a:buClrTx/>
            </a:pPr>
            <a:r>
              <a:rPr lang="en-US" sz="1800" kern="1200" dirty="0">
                <a:solidFill>
                  <a:prstClr val="black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Faster</a:t>
            </a:r>
          </a:p>
        </p:txBody>
      </p:sp>
      <p:sp>
        <p:nvSpPr>
          <p:cNvPr id="101" name="Yellow Heading">
            <a:extLst>
              <a:ext uri="{FF2B5EF4-FFF2-40B4-BE49-F238E27FC236}">
                <a16:creationId xmlns:a16="http://schemas.microsoft.com/office/drawing/2014/main" id="{6CD0F719-E860-49F9-B79A-C351981432F9}"/>
              </a:ext>
            </a:extLst>
          </p:cNvPr>
          <p:cNvSpPr/>
          <p:nvPr/>
        </p:nvSpPr>
        <p:spPr>
          <a:xfrm>
            <a:off x="2090679" y="1861466"/>
            <a:ext cx="2209259" cy="393954"/>
          </a:xfrm>
          <a:prstGeom prst="rect">
            <a:avLst/>
          </a:prstGeom>
        </p:spPr>
        <p:txBody>
          <a:bodyPr wrap="none" anchor="ctr" anchorCtr="0">
            <a:spAutoFit/>
          </a:bodyPr>
          <a:lstStyle/>
          <a:p>
            <a:pPr lvl="0" algn="ctr">
              <a:lnSpc>
                <a:spcPct val="107000"/>
              </a:lnSpc>
              <a:spcAft>
                <a:spcPts val="200"/>
              </a:spcAft>
              <a:buClrTx/>
            </a:pPr>
            <a:r>
              <a:rPr lang="en-US" sz="2000" b="1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rshal Serialiser</a:t>
            </a:r>
          </a:p>
        </p:txBody>
      </p:sp>
      <p:sp>
        <p:nvSpPr>
          <p:cNvPr id="102" name="Blue Heading">
            <a:extLst>
              <a:ext uri="{FF2B5EF4-FFF2-40B4-BE49-F238E27FC236}">
                <a16:creationId xmlns:a16="http://schemas.microsoft.com/office/drawing/2014/main" id="{41361630-C0B2-46BC-A6B9-A380D7A1CD9B}"/>
              </a:ext>
            </a:extLst>
          </p:cNvPr>
          <p:cNvSpPr/>
          <p:nvPr/>
        </p:nvSpPr>
        <p:spPr>
          <a:xfrm>
            <a:off x="8065306" y="1861466"/>
            <a:ext cx="1976824" cy="393954"/>
          </a:xfrm>
          <a:prstGeom prst="rect">
            <a:avLst/>
          </a:prstGeom>
        </p:spPr>
        <p:txBody>
          <a:bodyPr wrap="none" anchor="ctr" anchorCtr="0">
            <a:spAutoFit/>
          </a:bodyPr>
          <a:lstStyle/>
          <a:p>
            <a:pPr lvl="0" algn="ctr">
              <a:lnSpc>
                <a:spcPct val="107000"/>
              </a:lnSpc>
              <a:spcAft>
                <a:spcPts val="200"/>
              </a:spcAft>
              <a:buClrTx/>
            </a:pPr>
            <a:r>
              <a:rPr lang="en-US" sz="2000" b="1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ickle Serialiser</a:t>
            </a:r>
          </a:p>
        </p:txBody>
      </p:sp>
      <p:sp>
        <p:nvSpPr>
          <p:cNvPr id="103" name="Heading">
            <a:extLst>
              <a:ext uri="{FF2B5EF4-FFF2-40B4-BE49-F238E27FC236}">
                <a16:creationId xmlns:a16="http://schemas.microsoft.com/office/drawing/2014/main" id="{AD11ACF2-2976-4BDE-A0D5-8C777AC56D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56406" y="204321"/>
            <a:ext cx="6679188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b="1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IALISERS ARE SET DURING THE CREATION OF </a:t>
            </a:r>
            <a:r>
              <a:rPr lang="en-US" altLang="en-US" sz="2400" b="1" kern="1200" dirty="0">
                <a:solidFill>
                  <a:srgbClr val="EE283C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ARKCONTEXT.</a:t>
            </a:r>
          </a:p>
        </p:txBody>
      </p:sp>
      <p:sp>
        <p:nvSpPr>
          <p:cNvPr id="104" name="Rectangle 29">
            <a:extLst>
              <a:ext uri="{FF2B5EF4-FFF2-40B4-BE49-F238E27FC236}">
                <a16:creationId xmlns:a16="http://schemas.microsoft.com/office/drawing/2014/main" id="{C83E215F-BD54-4EE2-9E4B-F8F6CE5CDFBD}"/>
              </a:ext>
            </a:extLst>
          </p:cNvPr>
          <p:cNvSpPr/>
          <p:nvPr/>
        </p:nvSpPr>
        <p:spPr>
          <a:xfrm flipH="1">
            <a:off x="11343967" y="1456652"/>
            <a:ext cx="848031" cy="4773005"/>
          </a:xfrm>
          <a:custGeom>
            <a:avLst/>
            <a:gdLst>
              <a:gd name="connsiteX0" fmla="*/ 0 w 4324832"/>
              <a:gd name="connsiteY0" fmla="*/ 0 h 886929"/>
              <a:gd name="connsiteX1" fmla="*/ 4324832 w 4324832"/>
              <a:gd name="connsiteY1" fmla="*/ 0 h 886929"/>
              <a:gd name="connsiteX2" fmla="*/ 4324832 w 4324832"/>
              <a:gd name="connsiteY2" fmla="*/ 886929 h 886929"/>
              <a:gd name="connsiteX3" fmla="*/ 0 w 4324832"/>
              <a:gd name="connsiteY3" fmla="*/ 886929 h 886929"/>
              <a:gd name="connsiteX4" fmla="*/ 0 w 4324832"/>
              <a:gd name="connsiteY4" fmla="*/ 0 h 886929"/>
              <a:gd name="connsiteX0" fmla="*/ 0 w 4324832"/>
              <a:gd name="connsiteY0" fmla="*/ 0 h 886929"/>
              <a:gd name="connsiteX1" fmla="*/ 4324832 w 4324832"/>
              <a:gd name="connsiteY1" fmla="*/ 14748 h 886929"/>
              <a:gd name="connsiteX2" fmla="*/ 4324832 w 4324832"/>
              <a:gd name="connsiteY2" fmla="*/ 886929 h 886929"/>
              <a:gd name="connsiteX3" fmla="*/ 0 w 4324832"/>
              <a:gd name="connsiteY3" fmla="*/ 886929 h 886929"/>
              <a:gd name="connsiteX4" fmla="*/ 0 w 4324832"/>
              <a:gd name="connsiteY4" fmla="*/ 0 h 886929"/>
              <a:gd name="connsiteX0" fmla="*/ 0 w 4324832"/>
              <a:gd name="connsiteY0" fmla="*/ 0 h 886929"/>
              <a:gd name="connsiteX1" fmla="*/ 4324832 w 4324832"/>
              <a:gd name="connsiteY1" fmla="*/ 14748 h 886929"/>
              <a:gd name="connsiteX2" fmla="*/ 4324832 w 4324832"/>
              <a:gd name="connsiteY2" fmla="*/ 864807 h 886929"/>
              <a:gd name="connsiteX3" fmla="*/ 0 w 4324832"/>
              <a:gd name="connsiteY3" fmla="*/ 886929 h 886929"/>
              <a:gd name="connsiteX4" fmla="*/ 0 w 4324832"/>
              <a:gd name="connsiteY4" fmla="*/ 0 h 886929"/>
              <a:gd name="connsiteX0" fmla="*/ 0 w 4324832"/>
              <a:gd name="connsiteY0" fmla="*/ 0 h 886929"/>
              <a:gd name="connsiteX1" fmla="*/ 4324832 w 4324832"/>
              <a:gd name="connsiteY1" fmla="*/ 22122 h 886929"/>
              <a:gd name="connsiteX2" fmla="*/ 4324832 w 4324832"/>
              <a:gd name="connsiteY2" fmla="*/ 864807 h 886929"/>
              <a:gd name="connsiteX3" fmla="*/ 0 w 4324832"/>
              <a:gd name="connsiteY3" fmla="*/ 886929 h 886929"/>
              <a:gd name="connsiteX4" fmla="*/ 0 w 4324832"/>
              <a:gd name="connsiteY4" fmla="*/ 0 h 886929"/>
              <a:gd name="connsiteX0" fmla="*/ 0 w 4324832"/>
              <a:gd name="connsiteY0" fmla="*/ 0 h 901678"/>
              <a:gd name="connsiteX1" fmla="*/ 4324832 w 4324832"/>
              <a:gd name="connsiteY1" fmla="*/ 36871 h 901678"/>
              <a:gd name="connsiteX2" fmla="*/ 4324832 w 4324832"/>
              <a:gd name="connsiteY2" fmla="*/ 879556 h 901678"/>
              <a:gd name="connsiteX3" fmla="*/ 0 w 4324832"/>
              <a:gd name="connsiteY3" fmla="*/ 901678 h 901678"/>
              <a:gd name="connsiteX4" fmla="*/ 0 w 4324832"/>
              <a:gd name="connsiteY4" fmla="*/ 0 h 901678"/>
              <a:gd name="connsiteX0" fmla="*/ 0 w 4324832"/>
              <a:gd name="connsiteY0" fmla="*/ 0 h 916427"/>
              <a:gd name="connsiteX1" fmla="*/ 4324832 w 4324832"/>
              <a:gd name="connsiteY1" fmla="*/ 36871 h 916427"/>
              <a:gd name="connsiteX2" fmla="*/ 4324832 w 4324832"/>
              <a:gd name="connsiteY2" fmla="*/ 879556 h 916427"/>
              <a:gd name="connsiteX3" fmla="*/ 0 w 4324832"/>
              <a:gd name="connsiteY3" fmla="*/ 916427 h 916427"/>
              <a:gd name="connsiteX4" fmla="*/ 0 w 4324832"/>
              <a:gd name="connsiteY4" fmla="*/ 0 h 916427"/>
              <a:gd name="connsiteX0" fmla="*/ 0 w 4324832"/>
              <a:gd name="connsiteY0" fmla="*/ 0 h 931176"/>
              <a:gd name="connsiteX1" fmla="*/ 4324832 w 4324832"/>
              <a:gd name="connsiteY1" fmla="*/ 36871 h 931176"/>
              <a:gd name="connsiteX2" fmla="*/ 4324832 w 4324832"/>
              <a:gd name="connsiteY2" fmla="*/ 879556 h 931176"/>
              <a:gd name="connsiteX3" fmla="*/ 0 w 4324832"/>
              <a:gd name="connsiteY3" fmla="*/ 931176 h 931176"/>
              <a:gd name="connsiteX4" fmla="*/ 0 w 4324832"/>
              <a:gd name="connsiteY4" fmla="*/ 0 h 931176"/>
              <a:gd name="connsiteX0" fmla="*/ 0 w 4324832"/>
              <a:gd name="connsiteY0" fmla="*/ 0 h 916427"/>
              <a:gd name="connsiteX1" fmla="*/ 4324832 w 4324832"/>
              <a:gd name="connsiteY1" fmla="*/ 36871 h 916427"/>
              <a:gd name="connsiteX2" fmla="*/ 4324832 w 4324832"/>
              <a:gd name="connsiteY2" fmla="*/ 879556 h 916427"/>
              <a:gd name="connsiteX3" fmla="*/ 0 w 4324832"/>
              <a:gd name="connsiteY3" fmla="*/ 916427 h 916427"/>
              <a:gd name="connsiteX4" fmla="*/ 0 w 4324832"/>
              <a:gd name="connsiteY4" fmla="*/ 0 h 916427"/>
              <a:gd name="connsiteX0" fmla="*/ 0 w 4324832"/>
              <a:gd name="connsiteY0" fmla="*/ 0 h 909052"/>
              <a:gd name="connsiteX1" fmla="*/ 4324832 w 4324832"/>
              <a:gd name="connsiteY1" fmla="*/ 29496 h 909052"/>
              <a:gd name="connsiteX2" fmla="*/ 4324832 w 4324832"/>
              <a:gd name="connsiteY2" fmla="*/ 872181 h 909052"/>
              <a:gd name="connsiteX3" fmla="*/ 0 w 4324832"/>
              <a:gd name="connsiteY3" fmla="*/ 909052 h 909052"/>
              <a:gd name="connsiteX4" fmla="*/ 0 w 4324832"/>
              <a:gd name="connsiteY4" fmla="*/ 0 h 909052"/>
              <a:gd name="connsiteX0" fmla="*/ 0 w 4324832"/>
              <a:gd name="connsiteY0" fmla="*/ 5547 h 914599"/>
              <a:gd name="connsiteX1" fmla="*/ 4324832 w 4324832"/>
              <a:gd name="connsiteY1" fmla="*/ 0 h 914599"/>
              <a:gd name="connsiteX2" fmla="*/ 4324832 w 4324832"/>
              <a:gd name="connsiteY2" fmla="*/ 877728 h 914599"/>
              <a:gd name="connsiteX3" fmla="*/ 0 w 4324832"/>
              <a:gd name="connsiteY3" fmla="*/ 914599 h 914599"/>
              <a:gd name="connsiteX4" fmla="*/ 0 w 4324832"/>
              <a:gd name="connsiteY4" fmla="*/ 5547 h 914599"/>
              <a:gd name="connsiteX0" fmla="*/ 0 w 4603422"/>
              <a:gd name="connsiteY0" fmla="*/ 5547 h 926788"/>
              <a:gd name="connsiteX1" fmla="*/ 4324832 w 4603422"/>
              <a:gd name="connsiteY1" fmla="*/ 0 h 926788"/>
              <a:gd name="connsiteX2" fmla="*/ 4603422 w 4603422"/>
              <a:gd name="connsiteY2" fmla="*/ 926788 h 926788"/>
              <a:gd name="connsiteX3" fmla="*/ 0 w 4603422"/>
              <a:gd name="connsiteY3" fmla="*/ 914599 h 926788"/>
              <a:gd name="connsiteX4" fmla="*/ 0 w 4603422"/>
              <a:gd name="connsiteY4" fmla="*/ 5547 h 926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3422" h="926788">
                <a:moveTo>
                  <a:pt x="0" y="5547"/>
                </a:moveTo>
                <a:lnTo>
                  <a:pt x="4324832" y="0"/>
                </a:lnTo>
                <a:lnTo>
                  <a:pt x="4603422" y="926788"/>
                </a:lnTo>
                <a:lnTo>
                  <a:pt x="0" y="914599"/>
                </a:lnTo>
                <a:lnTo>
                  <a:pt x="0" y="55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105" name="Rectangle 29">
            <a:extLst>
              <a:ext uri="{FF2B5EF4-FFF2-40B4-BE49-F238E27FC236}">
                <a16:creationId xmlns:a16="http://schemas.microsoft.com/office/drawing/2014/main" id="{40662E8A-0329-4D21-A246-6C7D7C89A9E2}"/>
              </a:ext>
            </a:extLst>
          </p:cNvPr>
          <p:cNvSpPr/>
          <p:nvPr/>
        </p:nvSpPr>
        <p:spPr>
          <a:xfrm flipH="1">
            <a:off x="65295" y="1470559"/>
            <a:ext cx="777924" cy="4681664"/>
          </a:xfrm>
          <a:custGeom>
            <a:avLst/>
            <a:gdLst>
              <a:gd name="connsiteX0" fmla="*/ 0 w 4324832"/>
              <a:gd name="connsiteY0" fmla="*/ 0 h 886929"/>
              <a:gd name="connsiteX1" fmla="*/ 4324832 w 4324832"/>
              <a:gd name="connsiteY1" fmla="*/ 0 h 886929"/>
              <a:gd name="connsiteX2" fmla="*/ 4324832 w 4324832"/>
              <a:gd name="connsiteY2" fmla="*/ 886929 h 886929"/>
              <a:gd name="connsiteX3" fmla="*/ 0 w 4324832"/>
              <a:gd name="connsiteY3" fmla="*/ 886929 h 886929"/>
              <a:gd name="connsiteX4" fmla="*/ 0 w 4324832"/>
              <a:gd name="connsiteY4" fmla="*/ 0 h 886929"/>
              <a:gd name="connsiteX0" fmla="*/ 0 w 4324832"/>
              <a:gd name="connsiteY0" fmla="*/ 0 h 886929"/>
              <a:gd name="connsiteX1" fmla="*/ 4324832 w 4324832"/>
              <a:gd name="connsiteY1" fmla="*/ 14748 h 886929"/>
              <a:gd name="connsiteX2" fmla="*/ 4324832 w 4324832"/>
              <a:gd name="connsiteY2" fmla="*/ 886929 h 886929"/>
              <a:gd name="connsiteX3" fmla="*/ 0 w 4324832"/>
              <a:gd name="connsiteY3" fmla="*/ 886929 h 886929"/>
              <a:gd name="connsiteX4" fmla="*/ 0 w 4324832"/>
              <a:gd name="connsiteY4" fmla="*/ 0 h 886929"/>
              <a:gd name="connsiteX0" fmla="*/ 0 w 4324832"/>
              <a:gd name="connsiteY0" fmla="*/ 0 h 886929"/>
              <a:gd name="connsiteX1" fmla="*/ 4324832 w 4324832"/>
              <a:gd name="connsiteY1" fmla="*/ 14748 h 886929"/>
              <a:gd name="connsiteX2" fmla="*/ 4324832 w 4324832"/>
              <a:gd name="connsiteY2" fmla="*/ 864807 h 886929"/>
              <a:gd name="connsiteX3" fmla="*/ 0 w 4324832"/>
              <a:gd name="connsiteY3" fmla="*/ 886929 h 886929"/>
              <a:gd name="connsiteX4" fmla="*/ 0 w 4324832"/>
              <a:gd name="connsiteY4" fmla="*/ 0 h 886929"/>
              <a:gd name="connsiteX0" fmla="*/ 0 w 4324832"/>
              <a:gd name="connsiteY0" fmla="*/ 0 h 886929"/>
              <a:gd name="connsiteX1" fmla="*/ 4324832 w 4324832"/>
              <a:gd name="connsiteY1" fmla="*/ 22122 h 886929"/>
              <a:gd name="connsiteX2" fmla="*/ 4324832 w 4324832"/>
              <a:gd name="connsiteY2" fmla="*/ 864807 h 886929"/>
              <a:gd name="connsiteX3" fmla="*/ 0 w 4324832"/>
              <a:gd name="connsiteY3" fmla="*/ 886929 h 886929"/>
              <a:gd name="connsiteX4" fmla="*/ 0 w 4324832"/>
              <a:gd name="connsiteY4" fmla="*/ 0 h 886929"/>
              <a:gd name="connsiteX0" fmla="*/ 0 w 4324832"/>
              <a:gd name="connsiteY0" fmla="*/ 0 h 901678"/>
              <a:gd name="connsiteX1" fmla="*/ 4324832 w 4324832"/>
              <a:gd name="connsiteY1" fmla="*/ 36871 h 901678"/>
              <a:gd name="connsiteX2" fmla="*/ 4324832 w 4324832"/>
              <a:gd name="connsiteY2" fmla="*/ 879556 h 901678"/>
              <a:gd name="connsiteX3" fmla="*/ 0 w 4324832"/>
              <a:gd name="connsiteY3" fmla="*/ 901678 h 901678"/>
              <a:gd name="connsiteX4" fmla="*/ 0 w 4324832"/>
              <a:gd name="connsiteY4" fmla="*/ 0 h 901678"/>
              <a:gd name="connsiteX0" fmla="*/ 0 w 4324832"/>
              <a:gd name="connsiteY0" fmla="*/ 0 h 916427"/>
              <a:gd name="connsiteX1" fmla="*/ 4324832 w 4324832"/>
              <a:gd name="connsiteY1" fmla="*/ 36871 h 916427"/>
              <a:gd name="connsiteX2" fmla="*/ 4324832 w 4324832"/>
              <a:gd name="connsiteY2" fmla="*/ 879556 h 916427"/>
              <a:gd name="connsiteX3" fmla="*/ 0 w 4324832"/>
              <a:gd name="connsiteY3" fmla="*/ 916427 h 916427"/>
              <a:gd name="connsiteX4" fmla="*/ 0 w 4324832"/>
              <a:gd name="connsiteY4" fmla="*/ 0 h 916427"/>
              <a:gd name="connsiteX0" fmla="*/ 0 w 4324832"/>
              <a:gd name="connsiteY0" fmla="*/ 0 h 931176"/>
              <a:gd name="connsiteX1" fmla="*/ 4324832 w 4324832"/>
              <a:gd name="connsiteY1" fmla="*/ 36871 h 931176"/>
              <a:gd name="connsiteX2" fmla="*/ 4324832 w 4324832"/>
              <a:gd name="connsiteY2" fmla="*/ 879556 h 931176"/>
              <a:gd name="connsiteX3" fmla="*/ 0 w 4324832"/>
              <a:gd name="connsiteY3" fmla="*/ 931176 h 931176"/>
              <a:gd name="connsiteX4" fmla="*/ 0 w 4324832"/>
              <a:gd name="connsiteY4" fmla="*/ 0 h 931176"/>
              <a:gd name="connsiteX0" fmla="*/ 0 w 4324832"/>
              <a:gd name="connsiteY0" fmla="*/ 0 h 916427"/>
              <a:gd name="connsiteX1" fmla="*/ 4324832 w 4324832"/>
              <a:gd name="connsiteY1" fmla="*/ 36871 h 916427"/>
              <a:gd name="connsiteX2" fmla="*/ 4324832 w 4324832"/>
              <a:gd name="connsiteY2" fmla="*/ 879556 h 916427"/>
              <a:gd name="connsiteX3" fmla="*/ 0 w 4324832"/>
              <a:gd name="connsiteY3" fmla="*/ 916427 h 916427"/>
              <a:gd name="connsiteX4" fmla="*/ 0 w 4324832"/>
              <a:gd name="connsiteY4" fmla="*/ 0 h 916427"/>
              <a:gd name="connsiteX0" fmla="*/ 0 w 4324832"/>
              <a:gd name="connsiteY0" fmla="*/ 0 h 909052"/>
              <a:gd name="connsiteX1" fmla="*/ 4324832 w 4324832"/>
              <a:gd name="connsiteY1" fmla="*/ 29496 h 909052"/>
              <a:gd name="connsiteX2" fmla="*/ 4324832 w 4324832"/>
              <a:gd name="connsiteY2" fmla="*/ 872181 h 909052"/>
              <a:gd name="connsiteX3" fmla="*/ 0 w 4324832"/>
              <a:gd name="connsiteY3" fmla="*/ 909052 h 909052"/>
              <a:gd name="connsiteX4" fmla="*/ 0 w 4324832"/>
              <a:gd name="connsiteY4" fmla="*/ 0 h 909052"/>
              <a:gd name="connsiteX0" fmla="*/ 0 w 4324832"/>
              <a:gd name="connsiteY0" fmla="*/ 0 h 909052"/>
              <a:gd name="connsiteX1" fmla="*/ 4324832 w 4324832"/>
              <a:gd name="connsiteY1" fmla="*/ 29496 h 909052"/>
              <a:gd name="connsiteX2" fmla="*/ 3767628 w 4324832"/>
              <a:gd name="connsiteY2" fmla="*/ 900216 h 909052"/>
              <a:gd name="connsiteX3" fmla="*/ 0 w 4324832"/>
              <a:gd name="connsiteY3" fmla="*/ 909052 h 909052"/>
              <a:gd name="connsiteX4" fmla="*/ 0 w 4324832"/>
              <a:gd name="connsiteY4" fmla="*/ 0 h 909052"/>
              <a:gd name="connsiteX0" fmla="*/ 0 w 3767628"/>
              <a:gd name="connsiteY0" fmla="*/ 0 h 909052"/>
              <a:gd name="connsiteX1" fmla="*/ 3767628 w 3767628"/>
              <a:gd name="connsiteY1" fmla="*/ 1462 h 909052"/>
              <a:gd name="connsiteX2" fmla="*/ 3767628 w 3767628"/>
              <a:gd name="connsiteY2" fmla="*/ 900216 h 909052"/>
              <a:gd name="connsiteX3" fmla="*/ 0 w 3767628"/>
              <a:gd name="connsiteY3" fmla="*/ 909052 h 909052"/>
              <a:gd name="connsiteX4" fmla="*/ 0 w 3767628"/>
              <a:gd name="connsiteY4" fmla="*/ 0 h 909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67628" h="909052">
                <a:moveTo>
                  <a:pt x="0" y="0"/>
                </a:moveTo>
                <a:lnTo>
                  <a:pt x="3767628" y="1462"/>
                </a:lnTo>
                <a:lnTo>
                  <a:pt x="3767628" y="900216"/>
                </a:lnTo>
                <a:lnTo>
                  <a:pt x="0" y="90905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1915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6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3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6" grpId="1"/>
      <p:bldP spid="28" grpId="0"/>
      <p:bldP spid="28" grpId="1"/>
      <p:bldP spid="88" grpId="0"/>
      <p:bldP spid="88" grpId="1"/>
      <p:bldP spid="100" grpId="0"/>
      <p:bldP spid="100" grpId="1"/>
      <p:bldP spid="101" grpId="0"/>
      <p:bldP spid="101" grpId="1"/>
      <p:bldP spid="102" grpId="0"/>
      <p:bldP spid="102" grpId="1"/>
      <p:bldP spid="103" grpId="0" animBg="1"/>
      <p:bldP spid="103" grpId="1" animBg="1"/>
      <p:bldP spid="104" grpId="0" animBg="1"/>
      <p:bldP spid="10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Heading">
            <a:extLst>
              <a:ext uri="{FF2B5EF4-FFF2-40B4-BE49-F238E27FC236}">
                <a16:creationId xmlns:a16="http://schemas.microsoft.com/office/drawing/2014/main" id="{58E94D29-AFC3-4C21-B2B5-2ABE4A12A5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ARK MEMORY MANAGEMENT PARAMETERS</a:t>
            </a:r>
          </a:p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MORY LEVELS SUPPORTED BY SPARK</a:t>
            </a:r>
          </a:p>
        </p:txBody>
      </p:sp>
      <p:grpSp>
        <p:nvGrpSpPr>
          <p:cNvPr id="84" name="Green Point">
            <a:extLst>
              <a:ext uri="{FF2B5EF4-FFF2-40B4-BE49-F238E27FC236}">
                <a16:creationId xmlns:a16="http://schemas.microsoft.com/office/drawing/2014/main" id="{72BCB74B-288A-4D8A-8838-F1723F3B2ECA}"/>
              </a:ext>
            </a:extLst>
          </p:cNvPr>
          <p:cNvGrpSpPr/>
          <p:nvPr/>
        </p:nvGrpSpPr>
        <p:grpSpPr>
          <a:xfrm>
            <a:off x="2640563" y="5196060"/>
            <a:ext cx="6910875" cy="1134001"/>
            <a:chOff x="6389225" y="1006997"/>
            <a:chExt cx="4726281" cy="775532"/>
          </a:xfrm>
        </p:grpSpPr>
        <p:sp>
          <p:nvSpPr>
            <p:cNvPr id="85" name="Rectangle: Rounded Corners 8">
              <a:extLst>
                <a:ext uri="{FF2B5EF4-FFF2-40B4-BE49-F238E27FC236}">
                  <a16:creationId xmlns:a16="http://schemas.microsoft.com/office/drawing/2014/main" id="{6594D79B-58B5-4F36-AEA5-0DCC323F4333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44233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12270" y="4685"/>
                    <a:pt x="244233" y="4685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CE6EC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Rectangle: Rounded Corners 8">
              <a:extLst>
                <a:ext uri="{FF2B5EF4-FFF2-40B4-BE49-F238E27FC236}">
                  <a16:creationId xmlns:a16="http://schemas.microsoft.com/office/drawing/2014/main" id="{DCC51C24-4ED7-46CD-93B9-76A1007CC3CE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763267D3-518E-46A3-92F5-95F39ACE7773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6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88" name="Yellow Q">
              <a:extLst>
                <a:ext uri="{FF2B5EF4-FFF2-40B4-BE49-F238E27FC236}">
                  <a16:creationId xmlns:a16="http://schemas.microsoft.com/office/drawing/2014/main" id="{5455E94C-B1EA-42AC-972A-EE753DC93E6E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EMORY_ONLY_2 and MEMORY_AND_DISK_2</a:t>
              </a:r>
            </a:p>
          </p:txBody>
        </p:sp>
      </p:grpSp>
      <p:grpSp>
        <p:nvGrpSpPr>
          <p:cNvPr id="89" name="Grey Point">
            <a:extLst>
              <a:ext uri="{FF2B5EF4-FFF2-40B4-BE49-F238E27FC236}">
                <a16:creationId xmlns:a16="http://schemas.microsoft.com/office/drawing/2014/main" id="{A49AB595-D45B-4A50-8B40-2ACEF7D26D95}"/>
              </a:ext>
            </a:extLst>
          </p:cNvPr>
          <p:cNvGrpSpPr/>
          <p:nvPr/>
        </p:nvGrpSpPr>
        <p:grpSpPr>
          <a:xfrm>
            <a:off x="2640563" y="3889243"/>
            <a:ext cx="6910875" cy="1134001"/>
            <a:chOff x="6389225" y="1006997"/>
            <a:chExt cx="4726281" cy="775532"/>
          </a:xfrm>
        </p:grpSpPr>
        <p:sp>
          <p:nvSpPr>
            <p:cNvPr id="90" name="Rectangle: Rounded Corners 8">
              <a:extLst>
                <a:ext uri="{FF2B5EF4-FFF2-40B4-BE49-F238E27FC236}">
                  <a16:creationId xmlns:a16="http://schemas.microsoft.com/office/drawing/2014/main" id="{A7E82C71-AF60-4C03-94DE-965A7D7561EF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32581 w 4726281"/>
                <a:gd name="connsiteY1" fmla="*/ 3056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00618" y="3056"/>
                    <a:pt x="232581" y="3056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0EC1C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Rectangle: Rounded Corners 8">
              <a:extLst>
                <a:ext uri="{FF2B5EF4-FFF2-40B4-BE49-F238E27FC236}">
                  <a16:creationId xmlns:a16="http://schemas.microsoft.com/office/drawing/2014/main" id="{3170DE71-DAF6-45A9-A6B0-E4D5E180CAD8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AE5388B1-800B-4D8D-AAD0-E7D7534F20AA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5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93" name="Yellow Q">
              <a:extLst>
                <a:ext uri="{FF2B5EF4-FFF2-40B4-BE49-F238E27FC236}">
                  <a16:creationId xmlns:a16="http://schemas.microsoft.com/office/drawing/2014/main" id="{24A6E943-D658-44A2-B459-0E27D2BDD02A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DISK_ONLY</a:t>
              </a:r>
            </a:p>
          </p:txBody>
        </p:sp>
      </p:grpSp>
      <p:grpSp>
        <p:nvGrpSpPr>
          <p:cNvPr id="94" name="Green Point">
            <a:extLst>
              <a:ext uri="{FF2B5EF4-FFF2-40B4-BE49-F238E27FC236}">
                <a16:creationId xmlns:a16="http://schemas.microsoft.com/office/drawing/2014/main" id="{8703DADB-F45B-4F31-8334-009E3871AA14}"/>
              </a:ext>
            </a:extLst>
          </p:cNvPr>
          <p:cNvGrpSpPr/>
          <p:nvPr/>
        </p:nvGrpSpPr>
        <p:grpSpPr>
          <a:xfrm>
            <a:off x="2640563" y="5196060"/>
            <a:ext cx="6910875" cy="1134001"/>
            <a:chOff x="6389225" y="1006997"/>
            <a:chExt cx="4726281" cy="775532"/>
          </a:xfrm>
        </p:grpSpPr>
        <p:sp>
          <p:nvSpPr>
            <p:cNvPr id="95" name="Rectangle: Rounded Corners 8">
              <a:extLst>
                <a:ext uri="{FF2B5EF4-FFF2-40B4-BE49-F238E27FC236}">
                  <a16:creationId xmlns:a16="http://schemas.microsoft.com/office/drawing/2014/main" id="{0B364342-7122-49F1-833E-D22CD2F5C51B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44233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12270" y="4685"/>
                    <a:pt x="244233" y="4685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23AE7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Rectangle: Rounded Corners 8">
              <a:extLst>
                <a:ext uri="{FF2B5EF4-FFF2-40B4-BE49-F238E27FC236}">
                  <a16:creationId xmlns:a16="http://schemas.microsoft.com/office/drawing/2014/main" id="{CF75409C-50B0-4C4D-BB74-5BB8B0C058A0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F0610EE7-DA7D-4234-BC93-E4E1AE292880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4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98" name="Yellow Q">
              <a:extLst>
                <a:ext uri="{FF2B5EF4-FFF2-40B4-BE49-F238E27FC236}">
                  <a16:creationId xmlns:a16="http://schemas.microsoft.com/office/drawing/2014/main" id="{CC08B52A-DAB9-40E4-AF70-10E3222963CF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EMORY_AND_DISK_SER</a:t>
              </a:r>
            </a:p>
          </p:txBody>
        </p:sp>
      </p:grpSp>
      <p:grpSp>
        <p:nvGrpSpPr>
          <p:cNvPr id="99" name="Grey Point">
            <a:extLst>
              <a:ext uri="{FF2B5EF4-FFF2-40B4-BE49-F238E27FC236}">
                <a16:creationId xmlns:a16="http://schemas.microsoft.com/office/drawing/2014/main" id="{B62ECFEA-7F48-4F39-82AD-CE62D88699D6}"/>
              </a:ext>
            </a:extLst>
          </p:cNvPr>
          <p:cNvGrpSpPr/>
          <p:nvPr/>
        </p:nvGrpSpPr>
        <p:grpSpPr>
          <a:xfrm>
            <a:off x="2640563" y="3889243"/>
            <a:ext cx="6910875" cy="1134001"/>
            <a:chOff x="6389225" y="1006997"/>
            <a:chExt cx="4726281" cy="775532"/>
          </a:xfrm>
        </p:grpSpPr>
        <p:sp>
          <p:nvSpPr>
            <p:cNvPr id="100" name="Rectangle: Rounded Corners 8">
              <a:extLst>
                <a:ext uri="{FF2B5EF4-FFF2-40B4-BE49-F238E27FC236}">
                  <a16:creationId xmlns:a16="http://schemas.microsoft.com/office/drawing/2014/main" id="{27403964-D55C-46F3-9FC8-F0FC1DA5C7E9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32581 w 4726281"/>
                <a:gd name="connsiteY1" fmla="*/ 3056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00618" y="3056"/>
                    <a:pt x="232581" y="3056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5A5A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Rectangle: Rounded Corners 8">
              <a:extLst>
                <a:ext uri="{FF2B5EF4-FFF2-40B4-BE49-F238E27FC236}">
                  <a16:creationId xmlns:a16="http://schemas.microsoft.com/office/drawing/2014/main" id="{27B5EF26-AB39-444B-8175-C11E4F9D6686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CFF79000-C210-46C9-9245-AD22045D2CC3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3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03" name="Yellow Q">
              <a:extLst>
                <a:ext uri="{FF2B5EF4-FFF2-40B4-BE49-F238E27FC236}">
                  <a16:creationId xmlns:a16="http://schemas.microsoft.com/office/drawing/2014/main" id="{2BAB1F73-5D36-4756-B58C-526EF7EE6939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EMORY_ONLY_SER</a:t>
              </a:r>
            </a:p>
          </p:txBody>
        </p:sp>
      </p:grpSp>
      <p:grpSp>
        <p:nvGrpSpPr>
          <p:cNvPr id="104" name="Blue Point">
            <a:extLst>
              <a:ext uri="{FF2B5EF4-FFF2-40B4-BE49-F238E27FC236}">
                <a16:creationId xmlns:a16="http://schemas.microsoft.com/office/drawing/2014/main" id="{AA14918E-3917-4BE9-B9F6-BF24F0B20FC5}"/>
              </a:ext>
            </a:extLst>
          </p:cNvPr>
          <p:cNvGrpSpPr/>
          <p:nvPr/>
        </p:nvGrpSpPr>
        <p:grpSpPr>
          <a:xfrm>
            <a:off x="2640563" y="2582424"/>
            <a:ext cx="6910875" cy="1134002"/>
            <a:chOff x="6389225" y="1006997"/>
            <a:chExt cx="4726281" cy="775533"/>
          </a:xfrm>
        </p:grpSpPr>
        <p:sp>
          <p:nvSpPr>
            <p:cNvPr id="105" name="Rectangle: Rounded Corners 8">
              <a:extLst>
                <a:ext uri="{FF2B5EF4-FFF2-40B4-BE49-F238E27FC236}">
                  <a16:creationId xmlns:a16="http://schemas.microsoft.com/office/drawing/2014/main" id="{44D6D676-F0C3-4AC2-B845-AC64BA6F0484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8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104464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44233 w 4726281"/>
                <a:gd name="connsiteY1" fmla="*/ 3057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12270" y="3057"/>
                    <a:pt x="244233" y="3057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4890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" name="Rectangle: Rounded Corners 8">
              <a:extLst>
                <a:ext uri="{FF2B5EF4-FFF2-40B4-BE49-F238E27FC236}">
                  <a16:creationId xmlns:a16="http://schemas.microsoft.com/office/drawing/2014/main" id="{FF61554F-AD74-4709-AFCF-DCF93D88BED8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3440FE00-811C-44A0-9BEC-9A10BF7D9064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2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08" name="Yellow Q">
              <a:extLst>
                <a:ext uri="{FF2B5EF4-FFF2-40B4-BE49-F238E27FC236}">
                  <a16:creationId xmlns:a16="http://schemas.microsoft.com/office/drawing/2014/main" id="{B85B5FEE-A98F-41C9-815F-969CFF52FC02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EMORY_AND_DISK</a:t>
              </a:r>
            </a:p>
          </p:txBody>
        </p:sp>
      </p:grpSp>
      <p:grpSp>
        <p:nvGrpSpPr>
          <p:cNvPr id="109" name="Yellow Point">
            <a:extLst>
              <a:ext uri="{FF2B5EF4-FFF2-40B4-BE49-F238E27FC236}">
                <a16:creationId xmlns:a16="http://schemas.microsoft.com/office/drawing/2014/main" id="{05EC178E-B9D8-444F-A993-D3310E6B20D8}"/>
              </a:ext>
            </a:extLst>
          </p:cNvPr>
          <p:cNvGrpSpPr/>
          <p:nvPr/>
        </p:nvGrpSpPr>
        <p:grpSpPr>
          <a:xfrm>
            <a:off x="2640563" y="1275606"/>
            <a:ext cx="6910875" cy="1134001"/>
            <a:chOff x="6389225" y="1006997"/>
            <a:chExt cx="4726281" cy="775532"/>
          </a:xfrm>
        </p:grpSpPr>
        <p:sp>
          <p:nvSpPr>
            <p:cNvPr id="110" name="Rectangle: Rounded Corners 8">
              <a:extLst>
                <a:ext uri="{FF2B5EF4-FFF2-40B4-BE49-F238E27FC236}">
                  <a16:creationId xmlns:a16="http://schemas.microsoft.com/office/drawing/2014/main" id="{A8A63520-22F1-45FC-8F4E-8B9E8F28ADA1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09294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177331" y="4685"/>
                    <a:pt x="209294" y="4685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F4AB3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1" name="Rectangle: Rounded Corners 8">
              <a:extLst>
                <a:ext uri="{FF2B5EF4-FFF2-40B4-BE49-F238E27FC236}">
                  <a16:creationId xmlns:a16="http://schemas.microsoft.com/office/drawing/2014/main" id="{16F6466E-B17E-46C1-B84F-B693DE8CCD22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544DCF78-A588-48E1-B31D-D49BD94E8B22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1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13" name="Yellow Q">
              <a:extLst>
                <a:ext uri="{FF2B5EF4-FFF2-40B4-BE49-F238E27FC236}">
                  <a16:creationId xmlns:a16="http://schemas.microsoft.com/office/drawing/2014/main" id="{2CE62F8B-ACEC-4693-AC25-998A8729FFDE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EMORY_ONL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9897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7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10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47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1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0.00833 L 0 -0.38357 " pathEditMode="relative" rAng="0" ptsTypes="AA">
                                      <p:cBhvr>
                                        <p:cTn id="45" dur="2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8773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0.00417 L 0 -0.38079 " pathEditMode="relative" rAng="0" ptsTypes="AA">
                                      <p:cBhvr>
                                        <p:cTn id="47" dur="2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884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ing">
            <a:extLst>
              <a:ext uri="{FF2B5EF4-FFF2-40B4-BE49-F238E27FC236}">
                <a16:creationId xmlns:a16="http://schemas.microsoft.com/office/drawing/2014/main" id="{1A0E522E-D51D-4617-B34E-93A0CB2BFC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DD PERSISTENCE: MEMORY ONLY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FC58DF4-E0EA-412A-8BB2-1B359834A5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96909" y="1228891"/>
            <a:ext cx="815755" cy="872574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8364C36C-5744-4B80-B696-66FB494051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96909" y="5131163"/>
            <a:ext cx="815755" cy="872574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D619279F-4662-4690-B771-3DF8CE4E04CF}"/>
              </a:ext>
            </a:extLst>
          </p:cNvPr>
          <p:cNvCxnSpPr>
            <a:stCxn id="7" idx="3"/>
            <a:endCxn id="5" idx="1"/>
          </p:cNvCxnSpPr>
          <p:nvPr/>
        </p:nvCxnSpPr>
        <p:spPr>
          <a:xfrm flipV="1">
            <a:off x="2291344" y="1665178"/>
            <a:ext cx="2305565" cy="1951136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7569877-FC89-4BB4-B697-6D66D1CD1B94}"/>
              </a:ext>
            </a:extLst>
          </p:cNvPr>
          <p:cNvCxnSpPr>
            <a:cxnSpLocks/>
            <a:stCxn id="7" idx="3"/>
            <a:endCxn id="6" idx="1"/>
          </p:cNvCxnSpPr>
          <p:nvPr/>
        </p:nvCxnSpPr>
        <p:spPr>
          <a:xfrm>
            <a:off x="2291344" y="3616314"/>
            <a:ext cx="2305565" cy="1951136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11DEB55-0D37-43C8-9985-50BB15B89BDD}"/>
              </a:ext>
            </a:extLst>
          </p:cNvPr>
          <p:cNvCxnSpPr>
            <a:cxnSpLocks/>
            <a:stCxn id="6" idx="3"/>
            <a:endCxn id="8" idx="1"/>
          </p:cNvCxnSpPr>
          <p:nvPr/>
        </p:nvCxnSpPr>
        <p:spPr>
          <a:xfrm>
            <a:off x="5412664" y="5567450"/>
            <a:ext cx="2305566" cy="1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37B42EA-949D-4615-AE81-B7B065CF0B59}"/>
              </a:ext>
            </a:extLst>
          </p:cNvPr>
          <p:cNvCxnSpPr>
            <a:cxnSpLocks/>
            <a:stCxn id="5" idx="3"/>
            <a:endCxn id="4" idx="1"/>
          </p:cNvCxnSpPr>
          <p:nvPr/>
        </p:nvCxnSpPr>
        <p:spPr>
          <a:xfrm>
            <a:off x="5412664" y="1665178"/>
            <a:ext cx="2305566" cy="1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76DF8E94-6344-4620-9A6F-A6B04140EAEB}"/>
              </a:ext>
            </a:extLst>
          </p:cNvPr>
          <p:cNvGrpSpPr/>
          <p:nvPr/>
        </p:nvGrpSpPr>
        <p:grpSpPr>
          <a:xfrm>
            <a:off x="1475589" y="2780420"/>
            <a:ext cx="815755" cy="1272181"/>
            <a:chOff x="1475589" y="2780420"/>
            <a:chExt cx="815755" cy="1272181"/>
          </a:xfrm>
        </p:grpSpPr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EB9B56E6-5540-4460-A9AD-CD2C6B035EC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475589" y="3180027"/>
              <a:ext cx="815755" cy="872574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4DDA1CB-398D-4BFF-B8E8-DA1B5F37CBA0}"/>
                </a:ext>
              </a:extLst>
            </p:cNvPr>
            <p:cNvSpPr txBox="1"/>
            <p:nvPr/>
          </p:nvSpPr>
          <p:spPr>
            <a:xfrm>
              <a:off x="1662252" y="2780420"/>
              <a:ext cx="442429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/>
              <a:r>
                <a:rPr lang="en-IN" sz="1600" dirty="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DD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8DE5287-7E72-4674-9511-BD79911E9D0B}"/>
              </a:ext>
            </a:extLst>
          </p:cNvPr>
          <p:cNvGrpSpPr/>
          <p:nvPr/>
        </p:nvGrpSpPr>
        <p:grpSpPr>
          <a:xfrm>
            <a:off x="7718230" y="1209764"/>
            <a:ext cx="2130286" cy="1294275"/>
            <a:chOff x="7718230" y="1209764"/>
            <a:chExt cx="2130286" cy="1294275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55A3D228-5E20-4017-96E6-1550E5DBAE8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718230" y="1209764"/>
              <a:ext cx="2130286" cy="910829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1C1AA93-E5AB-45A7-8F34-3513B9827F53}"/>
                </a:ext>
              </a:extLst>
            </p:cNvPr>
            <p:cNvSpPr txBox="1"/>
            <p:nvPr/>
          </p:nvSpPr>
          <p:spPr>
            <a:xfrm>
              <a:off x="8400255" y="2257818"/>
              <a:ext cx="766236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/>
              <a:r>
                <a:rPr lang="en-IN" sz="1600" dirty="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Memory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8CCAF58-015F-40B4-9C6C-B852922D714E}"/>
              </a:ext>
            </a:extLst>
          </p:cNvPr>
          <p:cNvGrpSpPr/>
          <p:nvPr/>
        </p:nvGrpSpPr>
        <p:grpSpPr>
          <a:xfrm>
            <a:off x="7718230" y="5112036"/>
            <a:ext cx="2130286" cy="1299489"/>
            <a:chOff x="7718230" y="5112036"/>
            <a:chExt cx="2130286" cy="1299489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FA1E3D18-95A6-4C8B-8E79-DE745504141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718230" y="5112036"/>
              <a:ext cx="2130286" cy="910829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D6C1F89-B07E-4142-9B10-D647DC845A72}"/>
                </a:ext>
              </a:extLst>
            </p:cNvPr>
            <p:cNvSpPr txBox="1"/>
            <p:nvPr/>
          </p:nvSpPr>
          <p:spPr>
            <a:xfrm>
              <a:off x="8400256" y="6165304"/>
              <a:ext cx="766235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/>
              <a:r>
                <a:rPr lang="en-IN" sz="1600" dirty="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Memory</a:t>
              </a: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4B9D5348-8C77-41B6-8DB5-2C7447C3D1B8}"/>
              </a:ext>
            </a:extLst>
          </p:cNvPr>
          <p:cNvSpPr txBox="1"/>
          <p:nvPr/>
        </p:nvSpPr>
        <p:spPr>
          <a:xfrm>
            <a:off x="1044299" y="5106089"/>
            <a:ext cx="1678344" cy="49244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dd.persist</a:t>
            </a:r>
            <a:b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(MEMORY_ONLY)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A99B86CD-0624-468B-9167-3E577D37FC68}"/>
              </a:ext>
            </a:extLst>
          </p:cNvPr>
          <p:cNvCxnSpPr>
            <a:cxnSpLocks/>
            <a:stCxn id="16" idx="0"/>
            <a:endCxn id="7" idx="2"/>
          </p:cNvCxnSpPr>
          <p:nvPr/>
        </p:nvCxnSpPr>
        <p:spPr>
          <a:xfrm flipH="1" flipV="1">
            <a:off x="1883467" y="4052601"/>
            <a:ext cx="4" cy="1053488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16" grpId="0"/>
      <p:bldP spid="16" grpId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ing">
            <a:extLst>
              <a:ext uri="{FF2B5EF4-FFF2-40B4-BE49-F238E27FC236}">
                <a16:creationId xmlns:a16="http://schemas.microsoft.com/office/drawing/2014/main" id="{C4074BA6-F1C7-4800-BD89-55DD72ED9E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DD PERSISTENCE: MEMORY &amp; DISK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1251854-7E10-41F4-B062-BA8773359E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59514" y="1228891"/>
            <a:ext cx="815755" cy="872574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F3415E47-E9A8-4FC7-AD1C-234E0E143B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59514" y="5131163"/>
            <a:ext cx="815755" cy="872574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E30BE7F2-39F1-4007-98A3-77A7D97F00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59514" y="3180027"/>
            <a:ext cx="815755" cy="872574"/>
          </a:xfrm>
          <a:prstGeom prst="rect">
            <a:avLst/>
          </a:prstGeom>
        </p:spPr>
      </p:pic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EF78EBE-5052-41EA-8843-447BD87A9D2A}"/>
              </a:ext>
            </a:extLst>
          </p:cNvPr>
          <p:cNvCxnSpPr>
            <a:stCxn id="11" idx="3"/>
            <a:endCxn id="7" idx="1"/>
          </p:cNvCxnSpPr>
          <p:nvPr/>
        </p:nvCxnSpPr>
        <p:spPr>
          <a:xfrm flipV="1">
            <a:off x="2291344" y="1665178"/>
            <a:ext cx="3068170" cy="1951136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9E612EC-E3B7-48F4-9B78-D5C61875CD61}"/>
              </a:ext>
            </a:extLst>
          </p:cNvPr>
          <p:cNvCxnSpPr>
            <a:cxnSpLocks/>
            <a:stCxn id="11" idx="3"/>
            <a:endCxn id="9" idx="1"/>
          </p:cNvCxnSpPr>
          <p:nvPr/>
        </p:nvCxnSpPr>
        <p:spPr>
          <a:xfrm>
            <a:off x="2291344" y="3616314"/>
            <a:ext cx="3068170" cy="0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CD8299D8-B43C-401F-A953-B92A7EBBD09E}"/>
              </a:ext>
            </a:extLst>
          </p:cNvPr>
          <p:cNvCxnSpPr>
            <a:cxnSpLocks/>
            <a:stCxn id="11" idx="3"/>
            <a:endCxn id="10" idx="1"/>
          </p:cNvCxnSpPr>
          <p:nvPr/>
        </p:nvCxnSpPr>
        <p:spPr>
          <a:xfrm>
            <a:off x="2291344" y="3616314"/>
            <a:ext cx="3068170" cy="1951136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61FE3FB-E51F-4B61-9624-DECB1C37E570}"/>
              </a:ext>
            </a:extLst>
          </p:cNvPr>
          <p:cNvCxnSpPr>
            <a:cxnSpLocks/>
            <a:stCxn id="10" idx="3"/>
            <a:endCxn id="12" idx="1"/>
          </p:cNvCxnSpPr>
          <p:nvPr/>
        </p:nvCxnSpPr>
        <p:spPr>
          <a:xfrm>
            <a:off x="6175269" y="5567450"/>
            <a:ext cx="3068170" cy="1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C3FAA91C-6A7B-4668-9A85-FEF5B4635366}"/>
              </a:ext>
            </a:extLst>
          </p:cNvPr>
          <p:cNvCxnSpPr>
            <a:cxnSpLocks/>
            <a:stCxn id="9" idx="3"/>
            <a:endCxn id="5" idx="0"/>
          </p:cNvCxnSpPr>
          <p:nvPr/>
        </p:nvCxnSpPr>
        <p:spPr>
          <a:xfrm>
            <a:off x="6175269" y="3616314"/>
            <a:ext cx="3539356" cy="3273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00660714-49FC-4BFB-B813-690D5F7F6086}"/>
              </a:ext>
            </a:extLst>
          </p:cNvPr>
          <p:cNvCxnSpPr>
            <a:cxnSpLocks/>
            <a:stCxn id="7" idx="3"/>
            <a:endCxn id="4" idx="1"/>
          </p:cNvCxnSpPr>
          <p:nvPr/>
        </p:nvCxnSpPr>
        <p:spPr>
          <a:xfrm>
            <a:off x="6175269" y="1665178"/>
            <a:ext cx="3068170" cy="1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>
            <a:extLst>
              <a:ext uri="{FF2B5EF4-FFF2-40B4-BE49-F238E27FC236}">
                <a16:creationId xmlns:a16="http://schemas.microsoft.com/office/drawing/2014/main" id="{FC99A512-161B-4270-870E-2970964E20ED}"/>
              </a:ext>
            </a:extLst>
          </p:cNvPr>
          <p:cNvGrpSpPr/>
          <p:nvPr/>
        </p:nvGrpSpPr>
        <p:grpSpPr>
          <a:xfrm>
            <a:off x="1475589" y="2780420"/>
            <a:ext cx="815755" cy="1272181"/>
            <a:chOff x="1475589" y="2780420"/>
            <a:chExt cx="815755" cy="1272181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CE49BBD5-A4D3-47D0-A00F-84880802411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475589" y="3180027"/>
              <a:ext cx="815755" cy="872574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6D8B6B26-FA66-431E-8DEC-16827C188433}"/>
                </a:ext>
              </a:extLst>
            </p:cNvPr>
            <p:cNvSpPr txBox="1"/>
            <p:nvPr/>
          </p:nvSpPr>
          <p:spPr>
            <a:xfrm>
              <a:off x="1662252" y="2780420"/>
              <a:ext cx="442429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/>
              <a:r>
                <a:rPr lang="en-IN" sz="1600" dirty="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DD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109900D6-6E0D-4D2E-8C69-501FFE880AF2}"/>
              </a:ext>
            </a:extLst>
          </p:cNvPr>
          <p:cNvGrpSpPr/>
          <p:nvPr/>
        </p:nvGrpSpPr>
        <p:grpSpPr>
          <a:xfrm>
            <a:off x="9243439" y="1209764"/>
            <a:ext cx="2130286" cy="1294275"/>
            <a:chOff x="9243439" y="1209764"/>
            <a:chExt cx="2130286" cy="1294275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8FF726F6-1C27-4AA8-AC9B-2A0F324C0CA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243439" y="1209764"/>
              <a:ext cx="2130286" cy="910829"/>
            </a:xfrm>
            <a:prstGeom prst="rect">
              <a:avLst/>
            </a:prstGeom>
          </p:spPr>
        </p:pic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F311C85-E441-47B2-A84D-D18E54B0C196}"/>
                </a:ext>
              </a:extLst>
            </p:cNvPr>
            <p:cNvSpPr txBox="1"/>
            <p:nvPr/>
          </p:nvSpPr>
          <p:spPr>
            <a:xfrm>
              <a:off x="9925464" y="2257818"/>
              <a:ext cx="766236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/>
              <a:r>
                <a:rPr lang="en-IN" sz="1600" dirty="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Memory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A68923E5-24C3-4C12-BD1B-C55A32621F1C}"/>
              </a:ext>
            </a:extLst>
          </p:cNvPr>
          <p:cNvGrpSpPr/>
          <p:nvPr/>
        </p:nvGrpSpPr>
        <p:grpSpPr>
          <a:xfrm>
            <a:off x="9714625" y="3186571"/>
            <a:ext cx="1187916" cy="1208730"/>
            <a:chOff x="9714625" y="3186571"/>
            <a:chExt cx="1187916" cy="1208730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CA8772A0-B732-4A12-87B3-42FC9DFAC6D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 flipV="1">
              <a:off x="9875568" y="3025628"/>
              <a:ext cx="866029" cy="1187916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F90BEC71-523B-4569-8897-9FDF87B28608}"/>
                </a:ext>
              </a:extLst>
            </p:cNvPr>
            <p:cNvSpPr txBox="1"/>
            <p:nvPr/>
          </p:nvSpPr>
          <p:spPr>
            <a:xfrm>
              <a:off x="10109811" y="4149080"/>
              <a:ext cx="397545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/>
              <a:r>
                <a:rPr lang="en-IN" sz="1600" dirty="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k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F8B2534D-6904-4DF8-BAE5-E7901E8E66D0}"/>
              </a:ext>
            </a:extLst>
          </p:cNvPr>
          <p:cNvGrpSpPr/>
          <p:nvPr/>
        </p:nvGrpSpPr>
        <p:grpSpPr>
          <a:xfrm>
            <a:off x="9243439" y="5112036"/>
            <a:ext cx="2130286" cy="1299489"/>
            <a:chOff x="9243439" y="5112036"/>
            <a:chExt cx="2130286" cy="1299489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0DC87AD9-D3E5-49ED-B128-2A153CD8B8C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243439" y="5112036"/>
              <a:ext cx="2130286" cy="910829"/>
            </a:xfrm>
            <a:prstGeom prst="rect">
              <a:avLst/>
            </a:prstGeom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063AB250-2CF2-46FE-9B78-ABA208B0EA86}"/>
                </a:ext>
              </a:extLst>
            </p:cNvPr>
            <p:cNvSpPr txBox="1"/>
            <p:nvPr/>
          </p:nvSpPr>
          <p:spPr>
            <a:xfrm>
              <a:off x="9925465" y="6165304"/>
              <a:ext cx="766235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/>
              <a:r>
                <a:rPr lang="en-IN" sz="1600" dirty="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Memory</a:t>
              </a: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E316E9C8-848F-47AD-8BF6-CEA12D5822DC}"/>
              </a:ext>
            </a:extLst>
          </p:cNvPr>
          <p:cNvSpPr txBox="1"/>
          <p:nvPr/>
        </p:nvSpPr>
        <p:spPr>
          <a:xfrm>
            <a:off x="818276" y="5106089"/>
            <a:ext cx="2130390" cy="49244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dd.persist</a:t>
            </a:r>
            <a:b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(MEMORY_AND_DISK)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77A67BB5-2055-4C50-BA62-B9240954975C}"/>
              </a:ext>
            </a:extLst>
          </p:cNvPr>
          <p:cNvCxnSpPr>
            <a:cxnSpLocks/>
            <a:stCxn id="39" idx="0"/>
            <a:endCxn id="11" idx="2"/>
          </p:cNvCxnSpPr>
          <p:nvPr/>
        </p:nvCxnSpPr>
        <p:spPr>
          <a:xfrm flipH="1" flipV="1">
            <a:off x="1883467" y="4052601"/>
            <a:ext cx="4" cy="1053488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500"/>
                            </p:stCondLst>
                            <p:childTnLst>
                              <p:par>
                                <p:cTn id="5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6000"/>
                            </p:stCondLst>
                            <p:childTnLst>
                              <p:par>
                                <p:cTn id="5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6500"/>
                            </p:stCondLst>
                            <p:childTnLst>
                              <p:par>
                                <p:cTn id="6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7000"/>
                            </p:stCondLst>
                            <p:childTnLst>
                              <p:par>
                                <p:cTn id="6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39" grpId="0"/>
      <p:bldP spid="39" grpId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ing">
            <a:extLst>
              <a:ext uri="{FF2B5EF4-FFF2-40B4-BE49-F238E27FC236}">
                <a16:creationId xmlns:a16="http://schemas.microsoft.com/office/drawing/2014/main" id="{F4F58425-4B66-469D-BFFA-FFDBD0237F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DD PERSISTENCE: MEMORY ONLY SERIALIZED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9CC94AF-1F60-46CE-8DDB-865193A219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96909" y="1228891"/>
            <a:ext cx="815755" cy="872574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FA496896-0E85-4C98-B82F-115251B7F2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96909" y="5131163"/>
            <a:ext cx="815755" cy="872574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C76B4E2-7F43-4F38-833F-C11BB1EF0061}"/>
              </a:ext>
            </a:extLst>
          </p:cNvPr>
          <p:cNvCxnSpPr>
            <a:stCxn id="9" idx="3"/>
            <a:endCxn id="5" idx="1"/>
          </p:cNvCxnSpPr>
          <p:nvPr/>
        </p:nvCxnSpPr>
        <p:spPr>
          <a:xfrm flipV="1">
            <a:off x="2291344" y="1665178"/>
            <a:ext cx="2305565" cy="1951136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B3FA8E5-EDFA-42E3-ADCB-32A466C18E41}"/>
              </a:ext>
            </a:extLst>
          </p:cNvPr>
          <p:cNvCxnSpPr>
            <a:cxnSpLocks/>
            <a:stCxn id="9" idx="3"/>
            <a:endCxn id="6" idx="1"/>
          </p:cNvCxnSpPr>
          <p:nvPr/>
        </p:nvCxnSpPr>
        <p:spPr>
          <a:xfrm>
            <a:off x="2291344" y="3616314"/>
            <a:ext cx="2305565" cy="1951136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0A4A6FE6-A0A6-4275-A6F4-69ADE96D4CA7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5412664" y="5567450"/>
            <a:ext cx="2305566" cy="1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FE8E407-567C-4C97-B232-3B9B50C56159}"/>
              </a:ext>
            </a:extLst>
          </p:cNvPr>
          <p:cNvCxnSpPr>
            <a:cxnSpLocks/>
            <a:stCxn id="5" idx="3"/>
            <a:endCxn id="4" idx="1"/>
          </p:cNvCxnSpPr>
          <p:nvPr/>
        </p:nvCxnSpPr>
        <p:spPr>
          <a:xfrm>
            <a:off x="5412664" y="1665178"/>
            <a:ext cx="2305566" cy="1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0EBC0BA-2C40-487A-9C21-243AC3AF3F0A}"/>
              </a:ext>
            </a:extLst>
          </p:cNvPr>
          <p:cNvGrpSpPr/>
          <p:nvPr/>
        </p:nvGrpSpPr>
        <p:grpSpPr>
          <a:xfrm>
            <a:off x="1475589" y="2780420"/>
            <a:ext cx="815755" cy="1272181"/>
            <a:chOff x="1475589" y="2780420"/>
            <a:chExt cx="815755" cy="1272181"/>
          </a:xfrm>
        </p:grpSpPr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78B87CEF-B90F-46B1-8796-F43052527C2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475589" y="3180027"/>
              <a:ext cx="815755" cy="872574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D7B4950-B3B7-401F-8902-F4900E1366D9}"/>
                </a:ext>
              </a:extLst>
            </p:cNvPr>
            <p:cNvSpPr txBox="1"/>
            <p:nvPr/>
          </p:nvSpPr>
          <p:spPr>
            <a:xfrm>
              <a:off x="1662252" y="2780420"/>
              <a:ext cx="442429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/>
              <a:r>
                <a:rPr lang="en-IN" sz="1600" dirty="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DD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8AA94B9-672D-4711-B767-2BC989B87BC5}"/>
              </a:ext>
            </a:extLst>
          </p:cNvPr>
          <p:cNvGrpSpPr/>
          <p:nvPr/>
        </p:nvGrpSpPr>
        <p:grpSpPr>
          <a:xfrm>
            <a:off x="7718230" y="1209764"/>
            <a:ext cx="2130286" cy="1294275"/>
            <a:chOff x="7718230" y="1209764"/>
            <a:chExt cx="2130286" cy="1294275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099579AC-CB4B-429F-8866-9C5D1704196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718230" y="1209764"/>
              <a:ext cx="2130286" cy="910829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206029C-F227-4D1F-86C9-1D76E8B96CF9}"/>
                </a:ext>
              </a:extLst>
            </p:cNvPr>
            <p:cNvSpPr txBox="1"/>
            <p:nvPr/>
          </p:nvSpPr>
          <p:spPr>
            <a:xfrm>
              <a:off x="8400255" y="2257818"/>
              <a:ext cx="766236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/>
              <a:r>
                <a:rPr lang="en-IN" sz="1600" dirty="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Memory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6D23EFA-287F-4075-B532-6BD7370CF5EB}"/>
              </a:ext>
            </a:extLst>
          </p:cNvPr>
          <p:cNvGrpSpPr/>
          <p:nvPr/>
        </p:nvGrpSpPr>
        <p:grpSpPr>
          <a:xfrm>
            <a:off x="7718230" y="5112036"/>
            <a:ext cx="2130286" cy="1299489"/>
            <a:chOff x="7718230" y="5112036"/>
            <a:chExt cx="2130286" cy="1299489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743EEC4-97CE-4CC5-A7F3-98910BF10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718230" y="5112036"/>
              <a:ext cx="2130286" cy="91082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676F1A5-05C7-4BEC-BD0B-4DED2A7E8DF3}"/>
                </a:ext>
              </a:extLst>
            </p:cNvPr>
            <p:cNvSpPr txBox="1"/>
            <p:nvPr/>
          </p:nvSpPr>
          <p:spPr>
            <a:xfrm>
              <a:off x="8400256" y="6165304"/>
              <a:ext cx="766235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/>
              <a:r>
                <a:rPr lang="en-IN" sz="1600" dirty="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Memory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4A6FA01C-2BCB-4A36-ADA0-72DB2E510AAA}"/>
              </a:ext>
            </a:extLst>
          </p:cNvPr>
          <p:cNvSpPr txBox="1"/>
          <p:nvPr/>
        </p:nvSpPr>
        <p:spPr>
          <a:xfrm>
            <a:off x="818276" y="5106089"/>
            <a:ext cx="2130391" cy="49244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dd.persist</a:t>
            </a:r>
            <a:b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(MEMORY_ONLY_SER)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F278D27-E230-4810-9890-FDCD09443E12}"/>
              </a:ext>
            </a:extLst>
          </p:cNvPr>
          <p:cNvCxnSpPr>
            <a:cxnSpLocks/>
            <a:stCxn id="21" idx="0"/>
            <a:endCxn id="9" idx="2"/>
          </p:cNvCxnSpPr>
          <p:nvPr/>
        </p:nvCxnSpPr>
        <p:spPr>
          <a:xfrm flipH="1" flipV="1">
            <a:off x="1883467" y="4052601"/>
            <a:ext cx="5" cy="1053488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ight Brace 24">
            <a:extLst>
              <a:ext uri="{FF2B5EF4-FFF2-40B4-BE49-F238E27FC236}">
                <a16:creationId xmlns:a16="http://schemas.microsoft.com/office/drawing/2014/main" id="{ABD2E932-F6A3-4B72-88ED-2BF27262CBEA}"/>
              </a:ext>
            </a:extLst>
          </p:cNvPr>
          <p:cNvSpPr/>
          <p:nvPr/>
        </p:nvSpPr>
        <p:spPr>
          <a:xfrm>
            <a:off x="9840416" y="1667939"/>
            <a:ext cx="650890" cy="3896751"/>
          </a:xfrm>
          <a:prstGeom prst="rightBrace">
            <a:avLst>
              <a:gd name="adj1" fmla="val 21301"/>
              <a:gd name="adj2" fmla="val 50000"/>
            </a:avLst>
          </a:prstGeom>
          <a:ln w="19050">
            <a:solidFill>
              <a:schemeClr val="tx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8C5C208-1C1B-499A-A751-ABA2BFA07E99}"/>
              </a:ext>
            </a:extLst>
          </p:cNvPr>
          <p:cNvSpPr txBox="1"/>
          <p:nvPr/>
        </p:nvSpPr>
        <p:spPr>
          <a:xfrm>
            <a:off x="10611734" y="3246982"/>
            <a:ext cx="1059585" cy="738664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DD as</a:t>
            </a:r>
            <a:b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erialized</a:t>
            </a:r>
            <a:b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Java Object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6000"/>
                            </p:stCondLst>
                            <p:childTnLst>
                              <p:par>
                                <p:cTn id="5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21" grpId="0"/>
      <p:bldP spid="21" grpId="1"/>
      <p:bldP spid="25" grpId="0" animBg="1"/>
      <p:bldP spid="25" grpId="1" animBg="1"/>
      <p:bldP spid="27" grpId="0"/>
      <p:bldP spid="27" grpId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ing">
            <a:extLst>
              <a:ext uri="{FF2B5EF4-FFF2-40B4-BE49-F238E27FC236}">
                <a16:creationId xmlns:a16="http://schemas.microsoft.com/office/drawing/2014/main" id="{EDE303DF-3545-4DBF-81BD-089165B0F1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DD PERSISTENCE: MEMORY &amp; DISK SERIALIZED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43C8FF9-AEA7-44D4-8BD5-9A141BC08279}"/>
              </a:ext>
            </a:extLst>
          </p:cNvPr>
          <p:cNvGrpSpPr/>
          <p:nvPr/>
        </p:nvGrpSpPr>
        <p:grpSpPr>
          <a:xfrm>
            <a:off x="1475589" y="2780420"/>
            <a:ext cx="815755" cy="1272181"/>
            <a:chOff x="1475589" y="2780420"/>
            <a:chExt cx="815755" cy="1272181"/>
          </a:xfrm>
        </p:grpSpPr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79B47F8D-7DA1-4CD9-A84C-F2043DF2A63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475589" y="3180027"/>
              <a:ext cx="815755" cy="872574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1F9E6BD-5B92-4974-AC1D-7F50D3F731C9}"/>
                </a:ext>
              </a:extLst>
            </p:cNvPr>
            <p:cNvSpPr txBox="1"/>
            <p:nvPr/>
          </p:nvSpPr>
          <p:spPr>
            <a:xfrm>
              <a:off x="1662252" y="2780420"/>
              <a:ext cx="442429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/>
              <a:r>
                <a:rPr lang="en-IN" sz="1600" dirty="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DD</a:t>
              </a: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88A445EE-9E7B-4DF7-BFFB-CF643C55E2CD}"/>
              </a:ext>
            </a:extLst>
          </p:cNvPr>
          <p:cNvSpPr txBox="1"/>
          <p:nvPr/>
        </p:nvSpPr>
        <p:spPr>
          <a:xfrm>
            <a:off x="592253" y="5106089"/>
            <a:ext cx="2582438" cy="49244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dd.persist</a:t>
            </a:r>
            <a:b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(MEMORY_AND_DISK_SER)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8DE8160-6A8A-499A-BB35-961EE2367838}"/>
              </a:ext>
            </a:extLst>
          </p:cNvPr>
          <p:cNvCxnSpPr>
            <a:cxnSpLocks/>
            <a:stCxn id="16" idx="0"/>
            <a:endCxn id="7" idx="2"/>
          </p:cNvCxnSpPr>
          <p:nvPr/>
        </p:nvCxnSpPr>
        <p:spPr>
          <a:xfrm flipH="1" flipV="1">
            <a:off x="1883467" y="4052601"/>
            <a:ext cx="5" cy="1053488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ight Brace 17">
            <a:extLst>
              <a:ext uri="{FF2B5EF4-FFF2-40B4-BE49-F238E27FC236}">
                <a16:creationId xmlns:a16="http://schemas.microsoft.com/office/drawing/2014/main" id="{0D160084-8249-43B7-B928-642121148C32}"/>
              </a:ext>
            </a:extLst>
          </p:cNvPr>
          <p:cNvSpPr/>
          <p:nvPr/>
        </p:nvSpPr>
        <p:spPr>
          <a:xfrm rot="16200000">
            <a:off x="8014049" y="729993"/>
            <a:ext cx="423507" cy="4093329"/>
          </a:xfrm>
          <a:prstGeom prst="rightBrace">
            <a:avLst>
              <a:gd name="adj1" fmla="val 21301"/>
              <a:gd name="adj2" fmla="val 50000"/>
            </a:avLst>
          </a:prstGeom>
          <a:ln w="19050">
            <a:solidFill>
              <a:schemeClr val="tx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1848111-2BBC-43AD-B478-4DE57A1B0AA8}"/>
              </a:ext>
            </a:extLst>
          </p:cNvPr>
          <p:cNvSpPr txBox="1"/>
          <p:nvPr/>
        </p:nvSpPr>
        <p:spPr>
          <a:xfrm>
            <a:off x="6870463" y="2132138"/>
            <a:ext cx="2710678" cy="24622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DD as Serialized Java Object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21C82764-C52B-44B3-9578-0A30D9DF10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11684" y="3180027"/>
            <a:ext cx="815755" cy="872574"/>
          </a:xfrm>
          <a:prstGeom prst="rect">
            <a:avLst/>
          </a:prstGeom>
        </p:spPr>
      </p:pic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5EE46EEE-C73A-4C43-AD05-C9C0192142BF}"/>
              </a:ext>
            </a:extLst>
          </p:cNvPr>
          <p:cNvCxnSpPr>
            <a:cxnSpLocks/>
            <a:stCxn id="7" idx="3"/>
            <a:endCxn id="26" idx="1"/>
          </p:cNvCxnSpPr>
          <p:nvPr/>
        </p:nvCxnSpPr>
        <p:spPr>
          <a:xfrm>
            <a:off x="2291344" y="3616314"/>
            <a:ext cx="1120340" cy="0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177987D-575C-40C2-9BE8-D1170FB2D4AC}"/>
              </a:ext>
            </a:extLst>
          </p:cNvPr>
          <p:cNvCxnSpPr>
            <a:cxnSpLocks/>
            <a:stCxn id="26" idx="3"/>
            <a:endCxn id="33" idx="1"/>
          </p:cNvCxnSpPr>
          <p:nvPr/>
        </p:nvCxnSpPr>
        <p:spPr>
          <a:xfrm>
            <a:off x="4227439" y="3616314"/>
            <a:ext cx="1120340" cy="0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318A605-9BD9-48A7-AFC0-8E7C004C4900}"/>
              </a:ext>
            </a:extLst>
          </p:cNvPr>
          <p:cNvGrpSpPr/>
          <p:nvPr/>
        </p:nvGrpSpPr>
        <p:grpSpPr>
          <a:xfrm>
            <a:off x="5347779" y="3202301"/>
            <a:ext cx="1936624" cy="1193000"/>
            <a:chOff x="5347779" y="3202301"/>
            <a:chExt cx="1936624" cy="1193000"/>
          </a:xfrm>
        </p:grpSpPr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id="{FB7D2A78-0383-4ED5-8A93-72AA02C20CD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47779" y="3202301"/>
              <a:ext cx="1936624" cy="828026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8415AB4-9B23-4B15-9AB4-E0EBD04B5BDD}"/>
                </a:ext>
              </a:extLst>
            </p:cNvPr>
            <p:cNvSpPr txBox="1"/>
            <p:nvPr/>
          </p:nvSpPr>
          <p:spPr>
            <a:xfrm>
              <a:off x="5932973" y="4149080"/>
              <a:ext cx="766236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/>
              <a:r>
                <a:rPr lang="en-IN" sz="1600" dirty="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Memory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B360288-41C2-409E-A769-C0E199C796CF}"/>
              </a:ext>
            </a:extLst>
          </p:cNvPr>
          <p:cNvGrpSpPr/>
          <p:nvPr/>
        </p:nvGrpSpPr>
        <p:grpSpPr>
          <a:xfrm>
            <a:off x="9714625" y="3186571"/>
            <a:ext cx="1187916" cy="1208730"/>
            <a:chOff x="9714625" y="3186571"/>
            <a:chExt cx="1187916" cy="1208730"/>
          </a:xfrm>
        </p:grpSpPr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2512ECE1-77F3-440C-B3CB-45A07E0407F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 flipV="1">
              <a:off x="9875568" y="3025628"/>
              <a:ext cx="866029" cy="1187916"/>
            </a:xfrm>
            <a:prstGeom prst="rect">
              <a:avLst/>
            </a:prstGeom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3D7B0F7F-521F-4B9C-9DB5-67D1E2B5C1D4}"/>
                </a:ext>
              </a:extLst>
            </p:cNvPr>
            <p:cNvSpPr txBox="1"/>
            <p:nvPr/>
          </p:nvSpPr>
          <p:spPr>
            <a:xfrm>
              <a:off x="10109811" y="4149080"/>
              <a:ext cx="397545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/>
              <a:r>
                <a:rPr lang="en-IN" sz="1600" dirty="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k</a:t>
              </a:r>
            </a:p>
          </p:txBody>
        </p:sp>
      </p:grp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874D0BE6-B9E4-4D3F-8446-1EC97F785022}"/>
              </a:ext>
            </a:extLst>
          </p:cNvPr>
          <p:cNvCxnSpPr>
            <a:cxnSpLocks/>
            <a:stCxn id="33" idx="3"/>
            <a:endCxn id="37" idx="0"/>
          </p:cNvCxnSpPr>
          <p:nvPr/>
        </p:nvCxnSpPr>
        <p:spPr>
          <a:xfrm>
            <a:off x="7284403" y="3616314"/>
            <a:ext cx="2430222" cy="3273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5A657485-BEBB-43EE-B938-28E4B8C9912E}"/>
              </a:ext>
            </a:extLst>
          </p:cNvPr>
          <p:cNvSpPr txBox="1"/>
          <p:nvPr/>
        </p:nvSpPr>
        <p:spPr>
          <a:xfrm>
            <a:off x="7779769" y="3056777"/>
            <a:ext cx="1439497" cy="49244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he excess data</a:t>
            </a:r>
            <a:b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goes to disk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16" grpId="0"/>
      <p:bldP spid="16" grpId="1"/>
      <p:bldP spid="18" grpId="0" animBg="1"/>
      <p:bldP spid="18" grpId="1" animBg="1"/>
      <p:bldP spid="19" grpId="0"/>
      <p:bldP spid="19" grpId="1"/>
      <p:bldP spid="44" grpId="0"/>
      <p:bldP spid="44" grpId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ing">
            <a:extLst>
              <a:ext uri="{FF2B5EF4-FFF2-40B4-BE49-F238E27FC236}">
                <a16:creationId xmlns:a16="http://schemas.microsoft.com/office/drawing/2014/main" id="{FB754F6B-69AF-4EF9-9C60-A804B648EA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DD PERSISTENCE: DISK ONLY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BAB6F9A-3BD4-40F4-9EBF-43CB45983A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95107" y="1228891"/>
            <a:ext cx="815755" cy="872574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E98FEA7D-6614-4C0A-AB1F-B70B1A0FBE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95107" y="5131163"/>
            <a:ext cx="815755" cy="872574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3F814B57-92F0-4957-857D-08E54E804442}"/>
              </a:ext>
            </a:extLst>
          </p:cNvPr>
          <p:cNvCxnSpPr>
            <a:stCxn id="9" idx="3"/>
            <a:endCxn id="5" idx="1"/>
          </p:cNvCxnSpPr>
          <p:nvPr/>
        </p:nvCxnSpPr>
        <p:spPr>
          <a:xfrm flipV="1">
            <a:off x="2291344" y="1665178"/>
            <a:ext cx="3303763" cy="1951136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08ABDF2-43DB-46CA-812A-C03B5E7D7FAD}"/>
              </a:ext>
            </a:extLst>
          </p:cNvPr>
          <p:cNvCxnSpPr>
            <a:cxnSpLocks/>
            <a:stCxn id="9" idx="3"/>
            <a:endCxn id="6" idx="1"/>
          </p:cNvCxnSpPr>
          <p:nvPr/>
        </p:nvCxnSpPr>
        <p:spPr>
          <a:xfrm>
            <a:off x="2291344" y="3616314"/>
            <a:ext cx="3303763" cy="1951136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9DC5F88-38C1-4510-BD63-2C0524798AFA}"/>
              </a:ext>
            </a:extLst>
          </p:cNvPr>
          <p:cNvCxnSpPr>
            <a:cxnSpLocks/>
            <a:stCxn id="6" idx="3"/>
            <a:endCxn id="24" idx="0"/>
          </p:cNvCxnSpPr>
          <p:nvPr/>
        </p:nvCxnSpPr>
        <p:spPr>
          <a:xfrm>
            <a:off x="6410862" y="5567450"/>
            <a:ext cx="3303764" cy="1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8B93BE4-01E9-412B-B76B-6FCE75B2077A}"/>
              </a:ext>
            </a:extLst>
          </p:cNvPr>
          <p:cNvCxnSpPr>
            <a:cxnSpLocks/>
            <a:stCxn id="5" idx="3"/>
            <a:endCxn id="7" idx="0"/>
          </p:cNvCxnSpPr>
          <p:nvPr/>
        </p:nvCxnSpPr>
        <p:spPr>
          <a:xfrm>
            <a:off x="6410862" y="1665178"/>
            <a:ext cx="3303763" cy="1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9D41E84-A0FB-4DD3-9FED-3120D958ABF8}"/>
              </a:ext>
            </a:extLst>
          </p:cNvPr>
          <p:cNvGrpSpPr/>
          <p:nvPr/>
        </p:nvGrpSpPr>
        <p:grpSpPr>
          <a:xfrm>
            <a:off x="1475589" y="2780420"/>
            <a:ext cx="815755" cy="1272181"/>
            <a:chOff x="1475589" y="2780420"/>
            <a:chExt cx="815755" cy="1272181"/>
          </a:xfrm>
        </p:grpSpPr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8CB5D245-20B9-4F8E-A336-5B18E66ABCA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475589" y="3180027"/>
              <a:ext cx="815755" cy="872574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C4C8803-D4C2-4C71-B615-6E16C321A235}"/>
                </a:ext>
              </a:extLst>
            </p:cNvPr>
            <p:cNvSpPr txBox="1"/>
            <p:nvPr/>
          </p:nvSpPr>
          <p:spPr>
            <a:xfrm>
              <a:off x="1662252" y="2780420"/>
              <a:ext cx="442429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/>
              <a:r>
                <a:rPr lang="en-IN" sz="1600" dirty="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DD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E4786C8-DC1A-466A-AE31-DF6403C3E6DA}"/>
              </a:ext>
            </a:extLst>
          </p:cNvPr>
          <p:cNvGrpSpPr/>
          <p:nvPr/>
        </p:nvGrpSpPr>
        <p:grpSpPr>
          <a:xfrm>
            <a:off x="9714625" y="1232163"/>
            <a:ext cx="1187916" cy="1271876"/>
            <a:chOff x="9714625" y="1232163"/>
            <a:chExt cx="1187916" cy="1271876"/>
          </a:xfrm>
        </p:grpSpPr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8F948916-E506-409C-861F-FEA1A8B2367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 flipV="1">
              <a:off x="9875568" y="1071220"/>
              <a:ext cx="866029" cy="1187916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A98B1F7-582E-419C-B339-4FEF70656DF2}"/>
                </a:ext>
              </a:extLst>
            </p:cNvPr>
            <p:cNvSpPr txBox="1"/>
            <p:nvPr/>
          </p:nvSpPr>
          <p:spPr>
            <a:xfrm>
              <a:off x="10109809" y="2257818"/>
              <a:ext cx="397545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/>
              <a:r>
                <a:rPr lang="en-IN" sz="1600" dirty="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k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4FA65E59-8BDB-4439-B6D3-709819D34D62}"/>
              </a:ext>
            </a:extLst>
          </p:cNvPr>
          <p:cNvSpPr txBox="1"/>
          <p:nvPr/>
        </p:nvSpPr>
        <p:spPr>
          <a:xfrm>
            <a:off x="1274331" y="5106089"/>
            <a:ext cx="1218283" cy="49244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dd.persist</a:t>
            </a:r>
            <a:b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(DISK_ONLY)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DE552CF-22ED-45F6-B245-071C197FF1A2}"/>
              </a:ext>
            </a:extLst>
          </p:cNvPr>
          <p:cNvCxnSpPr>
            <a:cxnSpLocks/>
            <a:stCxn id="21" idx="0"/>
            <a:endCxn id="9" idx="2"/>
          </p:cNvCxnSpPr>
          <p:nvPr/>
        </p:nvCxnSpPr>
        <p:spPr>
          <a:xfrm flipH="1" flipV="1">
            <a:off x="1883467" y="4052601"/>
            <a:ext cx="6" cy="1053488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6DF2445-E512-4A50-85FB-944E3D947EA2}"/>
              </a:ext>
            </a:extLst>
          </p:cNvPr>
          <p:cNvGrpSpPr/>
          <p:nvPr/>
        </p:nvGrpSpPr>
        <p:grpSpPr>
          <a:xfrm>
            <a:off x="9714626" y="5134435"/>
            <a:ext cx="1187916" cy="1277090"/>
            <a:chOff x="9714626" y="5134435"/>
            <a:chExt cx="1187916" cy="1277090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C627398-32D4-4360-8A2A-B6F59DC174AC}"/>
                </a:ext>
              </a:extLst>
            </p:cNvPr>
            <p:cNvSpPr txBox="1"/>
            <p:nvPr/>
          </p:nvSpPr>
          <p:spPr>
            <a:xfrm>
              <a:off x="10109810" y="6165304"/>
              <a:ext cx="397545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/>
              <a:r>
                <a:rPr lang="en-IN" sz="1600" dirty="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k</a:t>
              </a:r>
            </a:p>
          </p:txBody>
        </p:sp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E7A4B485-B6FC-4501-A901-48466EC0A63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 flipV="1">
              <a:off x="9875569" y="4973492"/>
              <a:ext cx="866029" cy="1187916"/>
            </a:xfrm>
            <a:prstGeom prst="rect">
              <a:avLst/>
            </a:prstGeom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21" grpId="0"/>
      <p:bldP spid="21" grpId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5" name="Google Shape;455;p36"/>
          <p:cNvSpPr txBox="1"/>
          <p:nvPr/>
        </p:nvSpPr>
        <p:spPr>
          <a:xfrm>
            <a:off x="7062833" y="2848035"/>
            <a:ext cx="4500517" cy="1733428"/>
          </a:xfrm>
          <a:prstGeom prst="roundRect">
            <a:avLst>
              <a:gd name="adj" fmla="val 11722"/>
            </a:avLst>
          </a:prstGeom>
          <a:noFill/>
          <a:ln w="28575">
            <a:solidFill>
              <a:schemeClr val="tx2">
                <a:lumMod val="50000"/>
              </a:schemeClr>
            </a:solidFill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r>
              <a:rPr lang="en-IN" sz="1800" b="1" dirty="0">
                <a:solidFill>
                  <a:srgbClr val="EE283C"/>
                </a:solidFill>
                <a:latin typeface="Lato"/>
                <a:ea typeface="Lato"/>
                <a:cs typeface="Lato"/>
                <a:sym typeface="Lato"/>
              </a:rPr>
              <a:t>Amazon EMR</a:t>
            </a:r>
            <a:r>
              <a:rPr lang="en-IN" sz="1800" dirty="0">
                <a:solidFill>
                  <a:srgbClr val="EE283C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IN" sz="1800" dirty="0">
                <a:latin typeface="Lato"/>
                <a:ea typeface="Lato"/>
                <a:cs typeface="Lato"/>
                <a:sym typeface="Lato"/>
              </a:rPr>
              <a:t>is a managed cluster platform that simplifies running big data frameworks, such as </a:t>
            </a:r>
            <a:r>
              <a:rPr lang="en-IN" sz="1800" b="1" dirty="0">
                <a:solidFill>
                  <a:srgbClr val="EE283C"/>
                </a:solidFill>
                <a:latin typeface="Lato"/>
                <a:ea typeface="Lato"/>
                <a:cs typeface="Lato"/>
                <a:sym typeface="Lato"/>
              </a:rPr>
              <a:t>Apache Hadoop</a:t>
            </a:r>
            <a:r>
              <a:rPr lang="en-IN" sz="1800" dirty="0">
                <a:solidFill>
                  <a:srgbClr val="EE283C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-IN" sz="1800" dirty="0">
                <a:latin typeface="Lato"/>
                <a:ea typeface="Lato"/>
                <a:cs typeface="Lato"/>
                <a:sym typeface="Lato"/>
              </a:rPr>
              <a:t>and </a:t>
            </a:r>
            <a:r>
              <a:rPr lang="en-IN" sz="1800" b="1" dirty="0">
                <a:solidFill>
                  <a:srgbClr val="EE283C"/>
                </a:solidFill>
                <a:latin typeface="Lato"/>
                <a:ea typeface="Lato"/>
                <a:cs typeface="Lato"/>
                <a:sym typeface="Lato"/>
              </a:rPr>
              <a:t>Apache Spark</a:t>
            </a:r>
            <a:r>
              <a:rPr lang="en-IN" sz="1800" dirty="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,</a:t>
            </a:r>
            <a:r>
              <a:rPr lang="en-IN" sz="1800" dirty="0">
                <a:latin typeface="Lato"/>
                <a:ea typeface="Lato"/>
                <a:cs typeface="Lato"/>
                <a:sym typeface="Lato"/>
              </a:rPr>
              <a:t> on AWS to process and analyse vast amounts of data.</a:t>
            </a:r>
            <a:endParaRPr sz="1800" dirty="0"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8" name="Heading">
            <a:extLst>
              <a:ext uri="{FF2B5EF4-FFF2-40B4-BE49-F238E27FC236}">
                <a16:creationId xmlns:a16="http://schemas.microsoft.com/office/drawing/2014/main" id="{C7EFED4F-1232-40CF-948B-DC8991C871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MR CLUSTER AT A GLANCE</a:t>
            </a: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B17BD1B1-199F-4BF1-B5CD-8D399ECD7F6D}"/>
              </a:ext>
            </a:extLst>
          </p:cNvPr>
          <p:cNvSpPr>
            <a:spLocks noChangeAspect="1"/>
          </p:cNvSpPr>
          <p:nvPr/>
        </p:nvSpPr>
        <p:spPr>
          <a:xfrm>
            <a:off x="3023475" y="3153612"/>
            <a:ext cx="1531937" cy="1531937"/>
          </a:xfrm>
          <a:custGeom>
            <a:avLst/>
            <a:gdLst>
              <a:gd name="connsiteX0" fmla="*/ 0 w 1531937"/>
              <a:gd name="connsiteY0" fmla="*/ 765969 h 1531937"/>
              <a:gd name="connsiteX1" fmla="*/ 765969 w 1531937"/>
              <a:gd name="connsiteY1" fmla="*/ 0 h 1531937"/>
              <a:gd name="connsiteX2" fmla="*/ 1531938 w 1531937"/>
              <a:gd name="connsiteY2" fmla="*/ 765969 h 1531937"/>
              <a:gd name="connsiteX3" fmla="*/ 765969 w 1531937"/>
              <a:gd name="connsiteY3" fmla="*/ 1531938 h 1531937"/>
              <a:gd name="connsiteX4" fmla="*/ 0 w 1531937"/>
              <a:gd name="connsiteY4" fmla="*/ 765969 h 153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1937" h="1531937">
                <a:moveTo>
                  <a:pt x="0" y="765969"/>
                </a:moveTo>
                <a:cubicBezTo>
                  <a:pt x="0" y="342936"/>
                  <a:pt x="342936" y="0"/>
                  <a:pt x="765969" y="0"/>
                </a:cubicBezTo>
                <a:cubicBezTo>
                  <a:pt x="1189002" y="0"/>
                  <a:pt x="1531938" y="342936"/>
                  <a:pt x="1531938" y="765969"/>
                </a:cubicBezTo>
                <a:cubicBezTo>
                  <a:pt x="1531938" y="1189002"/>
                  <a:pt x="1189002" y="1531938"/>
                  <a:pt x="765969" y="1531938"/>
                </a:cubicBezTo>
                <a:cubicBezTo>
                  <a:pt x="342936" y="1531938"/>
                  <a:pt x="0" y="1189002"/>
                  <a:pt x="0" y="765969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rgbClr val="CE6EC0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800" tIns="10800" rIns="10800" bIns="10800" numCol="1" spcCol="1270" anchor="ctr" anchorCtr="0">
            <a:noAutofit/>
          </a:bodyPr>
          <a:lstStyle/>
          <a:p>
            <a:pPr marL="0" lvl="0" indent="0" algn="ctr" defTabSz="1422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1600" b="1" kern="12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MR Cluster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5F9B2D31-F273-4CF4-A965-65ACE3DEC3A2}"/>
              </a:ext>
            </a:extLst>
          </p:cNvPr>
          <p:cNvSpPr>
            <a:spLocks noChangeAspect="1"/>
          </p:cNvSpPr>
          <p:nvPr/>
        </p:nvSpPr>
        <p:spPr>
          <a:xfrm>
            <a:off x="3023475" y="1008585"/>
            <a:ext cx="1531937" cy="1531937"/>
          </a:xfrm>
          <a:custGeom>
            <a:avLst/>
            <a:gdLst>
              <a:gd name="connsiteX0" fmla="*/ 0 w 1531937"/>
              <a:gd name="connsiteY0" fmla="*/ 765969 h 1531937"/>
              <a:gd name="connsiteX1" fmla="*/ 765969 w 1531937"/>
              <a:gd name="connsiteY1" fmla="*/ 0 h 1531937"/>
              <a:gd name="connsiteX2" fmla="*/ 1531938 w 1531937"/>
              <a:gd name="connsiteY2" fmla="*/ 765969 h 1531937"/>
              <a:gd name="connsiteX3" fmla="*/ 765969 w 1531937"/>
              <a:gd name="connsiteY3" fmla="*/ 1531938 h 1531937"/>
              <a:gd name="connsiteX4" fmla="*/ 0 w 1531937"/>
              <a:gd name="connsiteY4" fmla="*/ 765969 h 153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1937" h="1531937">
                <a:moveTo>
                  <a:pt x="0" y="765969"/>
                </a:moveTo>
                <a:cubicBezTo>
                  <a:pt x="0" y="342936"/>
                  <a:pt x="342936" y="0"/>
                  <a:pt x="765969" y="0"/>
                </a:cubicBezTo>
                <a:cubicBezTo>
                  <a:pt x="1189002" y="0"/>
                  <a:pt x="1531938" y="342936"/>
                  <a:pt x="1531938" y="765969"/>
                </a:cubicBezTo>
                <a:cubicBezTo>
                  <a:pt x="1531938" y="1189002"/>
                  <a:pt x="1189002" y="1531938"/>
                  <a:pt x="765969" y="1531938"/>
                </a:cubicBezTo>
                <a:cubicBezTo>
                  <a:pt x="342936" y="1531938"/>
                  <a:pt x="0" y="1189002"/>
                  <a:pt x="0" y="765969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rgbClr val="F4AB35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800" tIns="10800" rIns="10800" bIns="10800" numCol="1" spcCol="1270" anchor="ctr" anchorCtr="0">
            <a:noAutofit/>
          </a:bodyPr>
          <a:lstStyle/>
          <a:p>
            <a:pPr marL="0" lvl="0" indent="0" algn="ctr" defTabSz="1422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1600" kern="12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lastic MapReduce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B9C0CDEF-D71F-4DF4-B1A4-46425A368F85}"/>
              </a:ext>
            </a:extLst>
          </p:cNvPr>
          <p:cNvSpPr>
            <a:spLocks noChangeAspect="1"/>
          </p:cNvSpPr>
          <p:nvPr/>
        </p:nvSpPr>
        <p:spPr>
          <a:xfrm>
            <a:off x="5063517" y="2490762"/>
            <a:ext cx="1531937" cy="1531937"/>
          </a:xfrm>
          <a:custGeom>
            <a:avLst/>
            <a:gdLst>
              <a:gd name="connsiteX0" fmla="*/ 0 w 1531937"/>
              <a:gd name="connsiteY0" fmla="*/ 765969 h 1531937"/>
              <a:gd name="connsiteX1" fmla="*/ 765969 w 1531937"/>
              <a:gd name="connsiteY1" fmla="*/ 0 h 1531937"/>
              <a:gd name="connsiteX2" fmla="*/ 1531938 w 1531937"/>
              <a:gd name="connsiteY2" fmla="*/ 765969 h 1531937"/>
              <a:gd name="connsiteX3" fmla="*/ 765969 w 1531937"/>
              <a:gd name="connsiteY3" fmla="*/ 1531938 h 1531937"/>
              <a:gd name="connsiteX4" fmla="*/ 0 w 1531937"/>
              <a:gd name="connsiteY4" fmla="*/ 765969 h 153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1937" h="1531937">
                <a:moveTo>
                  <a:pt x="0" y="765969"/>
                </a:moveTo>
                <a:cubicBezTo>
                  <a:pt x="0" y="342936"/>
                  <a:pt x="342936" y="0"/>
                  <a:pt x="765969" y="0"/>
                </a:cubicBezTo>
                <a:cubicBezTo>
                  <a:pt x="1189002" y="0"/>
                  <a:pt x="1531938" y="342936"/>
                  <a:pt x="1531938" y="765969"/>
                </a:cubicBezTo>
                <a:cubicBezTo>
                  <a:pt x="1531938" y="1189002"/>
                  <a:pt x="1189002" y="1531938"/>
                  <a:pt x="765969" y="1531938"/>
                </a:cubicBezTo>
                <a:cubicBezTo>
                  <a:pt x="342936" y="1531938"/>
                  <a:pt x="0" y="1189002"/>
                  <a:pt x="0" y="765969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rgbClr val="4890E4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800" tIns="10800" rIns="10800" bIns="10800" numCol="1" spcCol="1270" anchor="ctr" anchorCtr="0">
            <a:noAutofit/>
          </a:bodyPr>
          <a:lstStyle/>
          <a:p>
            <a:pPr marL="0" lvl="0" indent="0" algn="ctr" defTabSz="1422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1600" kern="12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xpandable</a:t>
            </a:r>
            <a:br>
              <a:rPr lang="en-IN" sz="1600" kern="12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IN" sz="1600" kern="12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low configuration service</a:t>
            </a: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4C42D139-C80B-42CA-8433-FB46085548C2}"/>
              </a:ext>
            </a:extLst>
          </p:cNvPr>
          <p:cNvSpPr>
            <a:spLocks noChangeAspect="1"/>
          </p:cNvSpPr>
          <p:nvPr/>
        </p:nvSpPr>
        <p:spPr>
          <a:xfrm>
            <a:off x="4284290" y="4888976"/>
            <a:ext cx="1531937" cy="1531937"/>
          </a:xfrm>
          <a:custGeom>
            <a:avLst/>
            <a:gdLst>
              <a:gd name="connsiteX0" fmla="*/ 0 w 1531937"/>
              <a:gd name="connsiteY0" fmla="*/ 765969 h 1531937"/>
              <a:gd name="connsiteX1" fmla="*/ 765969 w 1531937"/>
              <a:gd name="connsiteY1" fmla="*/ 0 h 1531937"/>
              <a:gd name="connsiteX2" fmla="*/ 1531938 w 1531937"/>
              <a:gd name="connsiteY2" fmla="*/ 765969 h 1531937"/>
              <a:gd name="connsiteX3" fmla="*/ 765969 w 1531937"/>
              <a:gd name="connsiteY3" fmla="*/ 1531938 h 1531937"/>
              <a:gd name="connsiteX4" fmla="*/ 0 w 1531937"/>
              <a:gd name="connsiteY4" fmla="*/ 765969 h 153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1937" h="1531937">
                <a:moveTo>
                  <a:pt x="0" y="765969"/>
                </a:moveTo>
                <a:cubicBezTo>
                  <a:pt x="0" y="342936"/>
                  <a:pt x="342936" y="0"/>
                  <a:pt x="765969" y="0"/>
                </a:cubicBezTo>
                <a:cubicBezTo>
                  <a:pt x="1189002" y="0"/>
                  <a:pt x="1531938" y="342936"/>
                  <a:pt x="1531938" y="765969"/>
                </a:cubicBezTo>
                <a:cubicBezTo>
                  <a:pt x="1531938" y="1189002"/>
                  <a:pt x="1189002" y="1531938"/>
                  <a:pt x="765969" y="1531938"/>
                </a:cubicBezTo>
                <a:cubicBezTo>
                  <a:pt x="342936" y="1531938"/>
                  <a:pt x="0" y="1189002"/>
                  <a:pt x="0" y="765969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rgbClr val="5A5A5A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800" tIns="10800" rIns="10800" bIns="10800" numCol="1" spcCol="1270" anchor="ctr" anchorCtr="0">
            <a:noAutofit/>
          </a:bodyPr>
          <a:lstStyle/>
          <a:p>
            <a:pPr marL="0" lvl="0" indent="0" algn="ctr" defTabSz="1422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1600" kern="12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ased on Hadoop</a:t>
            </a: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7542B966-4185-4CAA-800B-9B7CD5D3CD80}"/>
              </a:ext>
            </a:extLst>
          </p:cNvPr>
          <p:cNvSpPr>
            <a:spLocks noChangeAspect="1"/>
          </p:cNvSpPr>
          <p:nvPr/>
        </p:nvSpPr>
        <p:spPr>
          <a:xfrm>
            <a:off x="1762659" y="4888976"/>
            <a:ext cx="1531937" cy="1531937"/>
          </a:xfrm>
          <a:custGeom>
            <a:avLst/>
            <a:gdLst>
              <a:gd name="connsiteX0" fmla="*/ 0 w 1531937"/>
              <a:gd name="connsiteY0" fmla="*/ 765969 h 1531937"/>
              <a:gd name="connsiteX1" fmla="*/ 765969 w 1531937"/>
              <a:gd name="connsiteY1" fmla="*/ 0 h 1531937"/>
              <a:gd name="connsiteX2" fmla="*/ 1531938 w 1531937"/>
              <a:gd name="connsiteY2" fmla="*/ 765969 h 1531937"/>
              <a:gd name="connsiteX3" fmla="*/ 765969 w 1531937"/>
              <a:gd name="connsiteY3" fmla="*/ 1531938 h 1531937"/>
              <a:gd name="connsiteX4" fmla="*/ 0 w 1531937"/>
              <a:gd name="connsiteY4" fmla="*/ 765969 h 153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1937" h="1531937">
                <a:moveTo>
                  <a:pt x="0" y="765969"/>
                </a:moveTo>
                <a:cubicBezTo>
                  <a:pt x="0" y="342936"/>
                  <a:pt x="342936" y="0"/>
                  <a:pt x="765969" y="0"/>
                </a:cubicBezTo>
                <a:cubicBezTo>
                  <a:pt x="1189002" y="0"/>
                  <a:pt x="1531938" y="342936"/>
                  <a:pt x="1531938" y="765969"/>
                </a:cubicBezTo>
                <a:cubicBezTo>
                  <a:pt x="1531938" y="1189002"/>
                  <a:pt x="1189002" y="1531938"/>
                  <a:pt x="765969" y="1531938"/>
                </a:cubicBezTo>
                <a:cubicBezTo>
                  <a:pt x="342936" y="1531938"/>
                  <a:pt x="0" y="1189002"/>
                  <a:pt x="0" y="765969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rgbClr val="23AE73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800" tIns="10800" rIns="10800" bIns="10800" numCol="1" spcCol="1270" anchor="ctr" anchorCtr="0">
            <a:noAutofit/>
          </a:bodyPr>
          <a:lstStyle/>
          <a:p>
            <a:pPr marL="0" lvl="0" indent="0" algn="ctr" defTabSz="1422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1600" kern="12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ynamic resizing</a:t>
            </a: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CE578042-3B87-4EEE-9B38-DA6307C35DD1}"/>
              </a:ext>
            </a:extLst>
          </p:cNvPr>
          <p:cNvSpPr>
            <a:spLocks noChangeAspect="1"/>
          </p:cNvSpPr>
          <p:nvPr/>
        </p:nvSpPr>
        <p:spPr>
          <a:xfrm>
            <a:off x="983432" y="2490762"/>
            <a:ext cx="1531937" cy="1531937"/>
          </a:xfrm>
          <a:custGeom>
            <a:avLst/>
            <a:gdLst>
              <a:gd name="connsiteX0" fmla="*/ 0 w 1531937"/>
              <a:gd name="connsiteY0" fmla="*/ 765969 h 1531937"/>
              <a:gd name="connsiteX1" fmla="*/ 765969 w 1531937"/>
              <a:gd name="connsiteY1" fmla="*/ 0 h 1531937"/>
              <a:gd name="connsiteX2" fmla="*/ 1531938 w 1531937"/>
              <a:gd name="connsiteY2" fmla="*/ 765969 h 1531937"/>
              <a:gd name="connsiteX3" fmla="*/ 765969 w 1531937"/>
              <a:gd name="connsiteY3" fmla="*/ 1531938 h 1531937"/>
              <a:gd name="connsiteX4" fmla="*/ 0 w 1531937"/>
              <a:gd name="connsiteY4" fmla="*/ 765969 h 153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1937" h="1531937">
                <a:moveTo>
                  <a:pt x="0" y="765969"/>
                </a:moveTo>
                <a:cubicBezTo>
                  <a:pt x="0" y="342936"/>
                  <a:pt x="342936" y="0"/>
                  <a:pt x="765969" y="0"/>
                </a:cubicBezTo>
                <a:cubicBezTo>
                  <a:pt x="1189002" y="0"/>
                  <a:pt x="1531938" y="342936"/>
                  <a:pt x="1531938" y="765969"/>
                </a:cubicBezTo>
                <a:cubicBezTo>
                  <a:pt x="1531938" y="1189002"/>
                  <a:pt x="1189002" y="1531938"/>
                  <a:pt x="765969" y="1531938"/>
                </a:cubicBezTo>
                <a:cubicBezTo>
                  <a:pt x="342936" y="1531938"/>
                  <a:pt x="0" y="1189002"/>
                  <a:pt x="0" y="765969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rgbClr val="0EC1C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800" tIns="10800" rIns="10800" bIns="10800" numCol="1" spcCol="1270" anchor="ctr" anchorCtr="0">
            <a:noAutofit/>
          </a:bodyPr>
          <a:lstStyle/>
          <a:p>
            <a:pPr marL="0" lvl="0" indent="0" algn="ctr" defTabSz="2889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 ready-made setup for big data tools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1B24CF3-01E8-4AE7-BF4F-7D741FA53248}"/>
              </a:ext>
            </a:extLst>
          </p:cNvPr>
          <p:cNvCxnSpPr>
            <a:cxnSpLocks/>
          </p:cNvCxnSpPr>
          <p:nvPr/>
        </p:nvCxnSpPr>
        <p:spPr>
          <a:xfrm flipV="1">
            <a:off x="3789444" y="2644726"/>
            <a:ext cx="0" cy="379828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E1591B23-10A5-4AD0-8BBC-1ECA7CD6C7D8}"/>
              </a:ext>
            </a:extLst>
          </p:cNvPr>
          <p:cNvCxnSpPr>
            <a:cxnSpLocks/>
          </p:cNvCxnSpPr>
          <p:nvPr/>
        </p:nvCxnSpPr>
        <p:spPr>
          <a:xfrm flipV="1">
            <a:off x="4583832" y="3501008"/>
            <a:ext cx="432048" cy="144016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9B30FEC0-B85C-492C-BE90-3DAAA2D5B1F8}"/>
              </a:ext>
            </a:extLst>
          </p:cNvPr>
          <p:cNvCxnSpPr>
            <a:cxnSpLocks/>
          </p:cNvCxnSpPr>
          <p:nvPr/>
        </p:nvCxnSpPr>
        <p:spPr>
          <a:xfrm>
            <a:off x="4295800" y="4581128"/>
            <a:ext cx="216024" cy="360040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F3F5F04F-DF62-450D-9E3F-8FD627ADFECA}"/>
              </a:ext>
            </a:extLst>
          </p:cNvPr>
          <p:cNvCxnSpPr>
            <a:cxnSpLocks/>
          </p:cNvCxnSpPr>
          <p:nvPr/>
        </p:nvCxnSpPr>
        <p:spPr>
          <a:xfrm flipH="1">
            <a:off x="2999656" y="4581128"/>
            <a:ext cx="288032" cy="360040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EF920EA7-CB9E-4ECA-A0BE-E6F323382002}"/>
              </a:ext>
            </a:extLst>
          </p:cNvPr>
          <p:cNvCxnSpPr>
            <a:cxnSpLocks/>
          </p:cNvCxnSpPr>
          <p:nvPr/>
        </p:nvCxnSpPr>
        <p:spPr>
          <a:xfrm flipH="1" flipV="1">
            <a:off x="2567608" y="3501008"/>
            <a:ext cx="432048" cy="144016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8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8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1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7" dur="500"/>
                                        <p:tgtEl>
                                          <p:spTgt spid="4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5" grpId="0" animBg="1"/>
      <p:bldP spid="455" grpId="1" animBg="1"/>
      <p:bldP spid="18" grpId="0" animBg="1"/>
      <p:bldP spid="18" grpId="1" animBg="1"/>
      <p:bldP spid="32" grpId="0" animBg="1"/>
      <p:bldP spid="32" grpId="1" animBg="1"/>
      <p:bldP spid="34" grpId="0" animBg="1"/>
      <p:bldP spid="34" grpId="1" animBg="1"/>
      <p:bldP spid="36" grpId="0" animBg="1"/>
      <p:bldP spid="36" grpId="1" animBg="1"/>
      <p:bldP spid="38" grpId="0" animBg="1"/>
      <p:bldP spid="38" grpId="1" animBg="1"/>
      <p:bldP spid="40" grpId="0" animBg="1"/>
      <p:bldP spid="40" grpId="1" animBg="1"/>
      <p:bldP spid="42" grpId="0" animBg="1"/>
      <p:bldP spid="42" grpId="1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ing">
            <a:extLst>
              <a:ext uri="{FF2B5EF4-FFF2-40B4-BE49-F238E27FC236}">
                <a16:creationId xmlns:a16="http://schemas.microsoft.com/office/drawing/2014/main" id="{146FDEE4-7F54-408C-A08C-63FE95AF40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ARK MEMORY MANAGEMENT PARAMETERS</a:t>
            </a:r>
          </a:p>
        </p:txBody>
      </p:sp>
      <p:sp>
        <p:nvSpPr>
          <p:cNvPr id="10" name="Google Shape;926;p58">
            <a:extLst>
              <a:ext uri="{FF2B5EF4-FFF2-40B4-BE49-F238E27FC236}">
                <a16:creationId xmlns:a16="http://schemas.microsoft.com/office/drawing/2014/main" id="{6F914747-61A4-4BCF-BDA6-8008F6E41EB4}"/>
              </a:ext>
            </a:extLst>
          </p:cNvPr>
          <p:cNvSpPr txBox="1"/>
          <p:nvPr/>
        </p:nvSpPr>
        <p:spPr>
          <a:xfrm>
            <a:off x="1589091" y="4312271"/>
            <a:ext cx="9013818" cy="962216"/>
          </a:xfrm>
          <a:prstGeom prst="roundRect">
            <a:avLst>
              <a:gd name="adj" fmla="val 19690"/>
            </a:avLst>
          </a:prstGeom>
          <a:noFill/>
          <a:ln w="28575">
            <a:solidFill>
              <a:srgbClr val="F4AB35"/>
            </a:solidFill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</a:pPr>
            <a:r>
              <a:rPr lang="en-US" sz="24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Stores the </a:t>
            </a:r>
            <a:r>
              <a:rPr lang="en-US" sz="2400" b="1" dirty="0">
                <a:solidFill>
                  <a:srgbClr val="EE283C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intermediate computation </a:t>
            </a:r>
            <a:r>
              <a:rPr lang="en-US" sz="24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so that it can be </a:t>
            </a:r>
            <a:r>
              <a:rPr lang="en-US" sz="2400" b="1" dirty="0">
                <a:solidFill>
                  <a:srgbClr val="EE283C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reused</a:t>
            </a:r>
            <a:r>
              <a:rPr lang="en-US" sz="24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.</a:t>
            </a:r>
          </a:p>
        </p:txBody>
      </p:sp>
      <p:cxnSp>
        <p:nvCxnSpPr>
          <p:cNvPr id="11" name="Google Shape;927;p58">
            <a:extLst>
              <a:ext uri="{FF2B5EF4-FFF2-40B4-BE49-F238E27FC236}">
                <a16:creationId xmlns:a16="http://schemas.microsoft.com/office/drawing/2014/main" id="{539DD174-A72B-40AE-ACD4-D38C6498A590}"/>
              </a:ext>
            </a:extLst>
          </p:cNvPr>
          <p:cNvCxnSpPr>
            <a:cxnSpLocks/>
            <a:stCxn id="13" idx="2"/>
            <a:endCxn id="10" idx="0"/>
          </p:cNvCxnSpPr>
          <p:nvPr/>
        </p:nvCxnSpPr>
        <p:spPr>
          <a:xfrm rot="16200000" flipH="1">
            <a:off x="3857926" y="2074197"/>
            <a:ext cx="1832064" cy="2644083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triangle" w="lg" len="lg"/>
          </a:ln>
        </p:spPr>
      </p:cxnSp>
      <p:cxnSp>
        <p:nvCxnSpPr>
          <p:cNvPr id="12" name="Google Shape;929;p58">
            <a:extLst>
              <a:ext uri="{FF2B5EF4-FFF2-40B4-BE49-F238E27FC236}">
                <a16:creationId xmlns:a16="http://schemas.microsoft.com/office/drawing/2014/main" id="{D6A15098-A09D-4788-8BBA-060E05194C24}"/>
              </a:ext>
            </a:extLst>
          </p:cNvPr>
          <p:cNvCxnSpPr>
            <a:cxnSpLocks/>
            <a:stCxn id="14" idx="2"/>
            <a:endCxn id="10" idx="0"/>
          </p:cNvCxnSpPr>
          <p:nvPr/>
        </p:nvCxnSpPr>
        <p:spPr>
          <a:xfrm rot="5400000">
            <a:off x="6524310" y="2051897"/>
            <a:ext cx="1832064" cy="2688684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triangle" w="lg" len="lg"/>
          </a:ln>
        </p:spPr>
      </p:cxnSp>
      <p:sp>
        <p:nvSpPr>
          <p:cNvPr id="13" name="Google Shape;928;p58">
            <a:extLst>
              <a:ext uri="{FF2B5EF4-FFF2-40B4-BE49-F238E27FC236}">
                <a16:creationId xmlns:a16="http://schemas.microsoft.com/office/drawing/2014/main" id="{9AAF8A61-4D4A-475A-8F03-9935834C05FD}"/>
              </a:ext>
            </a:extLst>
          </p:cNvPr>
          <p:cNvSpPr txBox="1"/>
          <p:nvPr/>
        </p:nvSpPr>
        <p:spPr>
          <a:xfrm>
            <a:off x="2022517" y="1876607"/>
            <a:ext cx="2858800" cy="603600"/>
          </a:xfrm>
          <a:prstGeom prst="roundRect">
            <a:avLst/>
          </a:prstGeom>
          <a:noFill/>
          <a:ln w="28575">
            <a:solidFill>
              <a:srgbClr val="4890E4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-IN" sz="2000" dirty="0">
                <a:latin typeface="Lato"/>
                <a:ea typeface="Lato"/>
                <a:cs typeface="Lato"/>
                <a:sym typeface="Lato"/>
              </a:rPr>
              <a:t>Cache</a:t>
            </a:r>
          </a:p>
        </p:txBody>
      </p:sp>
      <p:sp>
        <p:nvSpPr>
          <p:cNvPr id="14" name="Google Shape;930;p58">
            <a:extLst>
              <a:ext uri="{FF2B5EF4-FFF2-40B4-BE49-F238E27FC236}">
                <a16:creationId xmlns:a16="http://schemas.microsoft.com/office/drawing/2014/main" id="{5E65A35F-B3B3-44CF-8FC3-ADABCCF11756}"/>
              </a:ext>
            </a:extLst>
          </p:cNvPr>
          <p:cNvSpPr txBox="1"/>
          <p:nvPr/>
        </p:nvSpPr>
        <p:spPr>
          <a:xfrm>
            <a:off x="7399884" y="1876607"/>
            <a:ext cx="2769600" cy="603600"/>
          </a:xfrm>
          <a:prstGeom prst="roundRect">
            <a:avLst/>
          </a:prstGeom>
          <a:noFill/>
          <a:ln w="28575">
            <a:solidFill>
              <a:srgbClr val="4890E4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-IN" sz="2000" dirty="0">
                <a:latin typeface="Lato"/>
                <a:ea typeface="Lato"/>
                <a:cs typeface="Lato"/>
                <a:sym typeface="Lato"/>
              </a:rPr>
              <a:t>Persist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10" grpId="0" animBg="1"/>
      <p:bldP spid="10" grpId="1" animBg="1"/>
      <p:bldP spid="13" grpId="0" animBg="1"/>
      <p:bldP spid="13" grpId="1" animBg="1"/>
      <p:bldP spid="14" grpId="0" animBg="1"/>
      <p:bldP spid="14" grpId="1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Heading">
            <a:extLst>
              <a:ext uri="{FF2B5EF4-FFF2-40B4-BE49-F238E27FC236}">
                <a16:creationId xmlns:a16="http://schemas.microsoft.com/office/drawing/2014/main" id="{E979ED9E-7610-49A5-89B2-170F46264F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ARK MEMORY MANAGEMENT PARAMETERS</a:t>
            </a:r>
          </a:p>
        </p:txBody>
      </p:sp>
      <p:sp>
        <p:nvSpPr>
          <p:cNvPr id="20" name="Google Shape;926;p58">
            <a:extLst>
              <a:ext uri="{FF2B5EF4-FFF2-40B4-BE49-F238E27FC236}">
                <a16:creationId xmlns:a16="http://schemas.microsoft.com/office/drawing/2014/main" id="{DD647A4D-6B81-4619-9982-36866FF34F37}"/>
              </a:ext>
            </a:extLst>
          </p:cNvPr>
          <p:cNvSpPr txBox="1"/>
          <p:nvPr/>
        </p:nvSpPr>
        <p:spPr>
          <a:xfrm>
            <a:off x="1069222" y="2533651"/>
            <a:ext cx="4754559" cy="2343150"/>
          </a:xfrm>
          <a:prstGeom prst="roundRect">
            <a:avLst>
              <a:gd name="adj" fmla="val 9264"/>
            </a:avLst>
          </a:prstGeom>
          <a:noFill/>
          <a:ln w="28575">
            <a:solidFill>
              <a:srgbClr val="F4AB35"/>
            </a:solidFill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marL="342900" indent="-342900">
              <a:spcBef>
                <a:spcPts val="800"/>
              </a:spcBef>
              <a:spcAft>
                <a:spcPts val="8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US" sz="2000" b="1" dirty="0">
                <a:solidFill>
                  <a:srgbClr val="EE283C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Dataframe</a:t>
            </a:r>
            <a:r>
              <a:rPr lang="en-US" sz="20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 - Memory and disk</a:t>
            </a:r>
          </a:p>
          <a:p>
            <a:pPr marL="342900" indent="-342900">
              <a:spcBef>
                <a:spcPts val="800"/>
              </a:spcBef>
              <a:spcAft>
                <a:spcPts val="8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US" sz="2000" b="1" dirty="0">
                <a:solidFill>
                  <a:srgbClr val="EE283C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RDD</a:t>
            </a:r>
            <a:r>
              <a:rPr lang="en-US" sz="20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 - Only memory</a:t>
            </a:r>
          </a:p>
          <a:p>
            <a:pPr marL="342900" indent="-342900">
              <a:spcBef>
                <a:spcPts val="800"/>
              </a:spcBef>
              <a:spcAft>
                <a:spcPts val="8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US" sz="20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Lazy operation</a:t>
            </a:r>
          </a:p>
        </p:txBody>
      </p:sp>
      <p:sp>
        <p:nvSpPr>
          <p:cNvPr id="21" name="Google Shape;926;p58">
            <a:extLst>
              <a:ext uri="{FF2B5EF4-FFF2-40B4-BE49-F238E27FC236}">
                <a16:creationId xmlns:a16="http://schemas.microsoft.com/office/drawing/2014/main" id="{330EE645-62D6-4003-9EBB-CC3F0B914464}"/>
              </a:ext>
            </a:extLst>
          </p:cNvPr>
          <p:cNvSpPr txBox="1"/>
          <p:nvPr/>
        </p:nvSpPr>
        <p:spPr>
          <a:xfrm>
            <a:off x="6368219" y="2533651"/>
            <a:ext cx="4754559" cy="2343150"/>
          </a:xfrm>
          <a:prstGeom prst="roundRect">
            <a:avLst>
              <a:gd name="adj" fmla="val 9264"/>
            </a:avLst>
          </a:prstGeom>
          <a:noFill/>
          <a:ln w="28575">
            <a:solidFill>
              <a:srgbClr val="4890E4"/>
            </a:solidFill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marL="342900" indent="-342900">
              <a:spcBef>
                <a:spcPts val="800"/>
              </a:spcBef>
              <a:spcAft>
                <a:spcPts val="8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US" sz="2000" b="1" dirty="0">
                <a:solidFill>
                  <a:srgbClr val="EE283C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Memory levels supported </a:t>
            </a:r>
            <a:r>
              <a:rPr lang="en-US" sz="20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- All levels are supported</a:t>
            </a:r>
          </a:p>
          <a:p>
            <a:pPr marL="342900" indent="-342900">
              <a:spcBef>
                <a:spcPts val="800"/>
              </a:spcBef>
              <a:spcAft>
                <a:spcPts val="8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US" sz="20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Lazy operation</a:t>
            </a:r>
          </a:p>
        </p:txBody>
      </p:sp>
      <p:sp>
        <p:nvSpPr>
          <p:cNvPr id="23" name="Google Shape;926;p58">
            <a:extLst>
              <a:ext uri="{FF2B5EF4-FFF2-40B4-BE49-F238E27FC236}">
                <a16:creationId xmlns:a16="http://schemas.microsoft.com/office/drawing/2014/main" id="{D984DDF3-E8F2-47E2-9A07-12C64040A6D4}"/>
              </a:ext>
            </a:extLst>
          </p:cNvPr>
          <p:cNvSpPr txBox="1"/>
          <p:nvPr/>
        </p:nvSpPr>
        <p:spPr>
          <a:xfrm>
            <a:off x="2438303" y="1875532"/>
            <a:ext cx="2016396" cy="442641"/>
          </a:xfrm>
          <a:prstGeom prst="roundRect">
            <a:avLst>
              <a:gd name="adj" fmla="val 9264"/>
            </a:avLst>
          </a:prstGeom>
          <a:noFill/>
          <a:ln w="28575">
            <a:noFill/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</a:pPr>
            <a:r>
              <a:rPr lang="en-US" sz="2400" b="1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Cache</a:t>
            </a:r>
            <a:endParaRPr lang="en-US" sz="1800" dirty="0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/>
            </a:endParaRPr>
          </a:p>
        </p:txBody>
      </p:sp>
      <p:sp>
        <p:nvSpPr>
          <p:cNvPr id="24" name="Google Shape;926;p58">
            <a:extLst>
              <a:ext uri="{FF2B5EF4-FFF2-40B4-BE49-F238E27FC236}">
                <a16:creationId xmlns:a16="http://schemas.microsoft.com/office/drawing/2014/main" id="{01F10A8B-AA25-4E14-833F-45F3B0FB0760}"/>
              </a:ext>
            </a:extLst>
          </p:cNvPr>
          <p:cNvSpPr txBox="1"/>
          <p:nvPr/>
        </p:nvSpPr>
        <p:spPr>
          <a:xfrm>
            <a:off x="7737300" y="1875532"/>
            <a:ext cx="2016396" cy="442641"/>
          </a:xfrm>
          <a:prstGeom prst="roundRect">
            <a:avLst>
              <a:gd name="adj" fmla="val 9264"/>
            </a:avLst>
          </a:prstGeom>
          <a:noFill/>
          <a:ln w="28575">
            <a:noFill/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</a:pPr>
            <a:r>
              <a:rPr lang="en-US" sz="2400" b="1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Persist</a:t>
            </a:r>
            <a:endParaRPr lang="en-US" sz="1800" dirty="0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500"/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7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3" dur="500"/>
                                        <p:tgtEl>
                                          <p:spTgt spid="2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19" grpId="1" animBg="1"/>
      <p:bldP spid="20" grpId="0" build="p" animBg="1"/>
      <p:bldP spid="20" grpId="1" build="allAtOnce" animBg="1"/>
      <p:bldP spid="21" grpId="0" build="p" animBg="1"/>
      <p:bldP spid="21" grpId="1" build="allAtOnce" animBg="1"/>
      <p:bldP spid="23" grpId="0"/>
      <p:bldP spid="23" grpId="1"/>
      <p:bldP spid="24" grpId="0"/>
      <p:bldP spid="24" grpId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ing">
            <a:extLst>
              <a:ext uri="{FF2B5EF4-FFF2-40B4-BE49-F238E27FC236}">
                <a16:creationId xmlns:a16="http://schemas.microsoft.com/office/drawing/2014/main" id="{7E26A2AE-34DC-464A-9670-81AED9433C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ARK MEMORY MANAGEMENT PARAMETERS</a:t>
            </a:r>
          </a:p>
        </p:txBody>
      </p:sp>
      <p:sp>
        <p:nvSpPr>
          <p:cNvPr id="12" name="Google Shape;926;p58">
            <a:extLst>
              <a:ext uri="{FF2B5EF4-FFF2-40B4-BE49-F238E27FC236}">
                <a16:creationId xmlns:a16="http://schemas.microsoft.com/office/drawing/2014/main" id="{E1E3FB8A-B2D9-434E-8CFE-EC860922CBEF}"/>
              </a:ext>
            </a:extLst>
          </p:cNvPr>
          <p:cNvSpPr txBox="1"/>
          <p:nvPr/>
        </p:nvSpPr>
        <p:spPr>
          <a:xfrm>
            <a:off x="2073360" y="2533651"/>
            <a:ext cx="8045281" cy="2343150"/>
          </a:xfrm>
          <a:prstGeom prst="roundRect">
            <a:avLst>
              <a:gd name="adj" fmla="val 9264"/>
            </a:avLst>
          </a:prstGeom>
          <a:noFill/>
          <a:ln w="28575">
            <a:solidFill>
              <a:srgbClr val="F4AB35"/>
            </a:solidFill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marL="342900" indent="-342900">
              <a:spcBef>
                <a:spcPts val="800"/>
              </a:spcBef>
              <a:spcAft>
                <a:spcPts val="8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US" sz="2000" b="1" dirty="0">
                <a:solidFill>
                  <a:srgbClr val="EE283C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Breaks the lineage </a:t>
            </a:r>
            <a:r>
              <a:rPr lang="en-US" sz="20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as compared with Cache and Persist, which maintain the lineage</a:t>
            </a:r>
          </a:p>
          <a:p>
            <a:pPr marL="342900" indent="-342900">
              <a:spcBef>
                <a:spcPts val="800"/>
              </a:spcBef>
              <a:spcAft>
                <a:spcPts val="8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US" sz="20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Computes </a:t>
            </a:r>
            <a:r>
              <a:rPr lang="en-US" sz="2000" b="1" dirty="0">
                <a:solidFill>
                  <a:srgbClr val="EE283C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separately</a:t>
            </a:r>
            <a:r>
              <a:rPr lang="en-US" sz="20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 from other jobs</a:t>
            </a:r>
          </a:p>
          <a:p>
            <a:pPr marL="342900" indent="-342900">
              <a:spcBef>
                <a:spcPts val="800"/>
              </a:spcBef>
              <a:spcAft>
                <a:spcPts val="8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US" sz="20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Checkpoint data is </a:t>
            </a:r>
            <a:r>
              <a:rPr lang="en-US" sz="2000" b="1" dirty="0">
                <a:solidFill>
                  <a:srgbClr val="EE283C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persistent</a:t>
            </a:r>
            <a:r>
              <a:rPr lang="en-US" sz="20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 and is </a:t>
            </a:r>
            <a:r>
              <a:rPr lang="en-US" sz="2000" b="1" dirty="0">
                <a:solidFill>
                  <a:srgbClr val="EE283C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not removed after SparkContext is destroyed</a:t>
            </a:r>
          </a:p>
        </p:txBody>
      </p:sp>
      <p:sp>
        <p:nvSpPr>
          <p:cNvPr id="14" name="Google Shape;926;p58">
            <a:extLst>
              <a:ext uri="{FF2B5EF4-FFF2-40B4-BE49-F238E27FC236}">
                <a16:creationId xmlns:a16="http://schemas.microsoft.com/office/drawing/2014/main" id="{515A25AE-0AAF-40B9-A0BE-6367B971F515}"/>
              </a:ext>
            </a:extLst>
          </p:cNvPr>
          <p:cNvSpPr txBox="1"/>
          <p:nvPr/>
        </p:nvSpPr>
        <p:spPr>
          <a:xfrm>
            <a:off x="5087802" y="1875532"/>
            <a:ext cx="2016396" cy="442641"/>
          </a:xfrm>
          <a:prstGeom prst="roundRect">
            <a:avLst>
              <a:gd name="adj" fmla="val 9264"/>
            </a:avLst>
          </a:prstGeom>
          <a:noFill/>
          <a:ln w="28575">
            <a:noFill/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</a:pPr>
            <a:r>
              <a:rPr lang="en-US" sz="2400" b="1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Checkpoint</a:t>
            </a:r>
            <a:endParaRPr lang="en-US" sz="1800" dirty="0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  <p:bldP spid="12" grpId="0" build="p" animBg="1"/>
      <p:bldP spid="12" grpId="1" build="allAtOnce" animBg="1"/>
      <p:bldP spid="14" grpId="0"/>
      <p:bldP spid="14" grpId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ing">
            <a:extLst>
              <a:ext uri="{FF2B5EF4-FFF2-40B4-BE49-F238E27FC236}">
                <a16:creationId xmlns:a16="http://schemas.microsoft.com/office/drawing/2014/main" id="{7E26A2AE-34DC-464A-9670-81AED9433C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ARK MEMORY MANAGEMENT PARAMETERS</a:t>
            </a:r>
          </a:p>
        </p:txBody>
      </p:sp>
      <p:sp>
        <p:nvSpPr>
          <p:cNvPr id="12" name="Google Shape;926;p58">
            <a:extLst>
              <a:ext uri="{FF2B5EF4-FFF2-40B4-BE49-F238E27FC236}">
                <a16:creationId xmlns:a16="http://schemas.microsoft.com/office/drawing/2014/main" id="{E1E3FB8A-B2D9-434E-8CFE-EC860922CBEF}"/>
              </a:ext>
            </a:extLst>
          </p:cNvPr>
          <p:cNvSpPr txBox="1"/>
          <p:nvPr/>
        </p:nvSpPr>
        <p:spPr>
          <a:xfrm>
            <a:off x="2073360" y="2533651"/>
            <a:ext cx="8045281" cy="2343150"/>
          </a:xfrm>
          <a:prstGeom prst="roundRect">
            <a:avLst>
              <a:gd name="adj" fmla="val 9264"/>
            </a:avLst>
          </a:prstGeom>
          <a:noFill/>
          <a:ln w="28575">
            <a:solidFill>
              <a:srgbClr val="F4AB35"/>
            </a:solidFill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marL="342900" indent="-342900">
              <a:spcBef>
                <a:spcPts val="800"/>
              </a:spcBef>
              <a:spcAft>
                <a:spcPts val="8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US" sz="2000" b="1" dirty="0">
                <a:solidFill>
                  <a:srgbClr val="EE283C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Manually (on demand) remove </a:t>
            </a:r>
            <a:r>
              <a:rPr lang="en-US" sz="20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 the rdd from the cache</a:t>
            </a:r>
          </a:p>
          <a:p>
            <a:pPr marL="342900" indent="-342900">
              <a:spcBef>
                <a:spcPts val="800"/>
              </a:spcBef>
              <a:spcAft>
                <a:spcPts val="800"/>
              </a:spcAft>
              <a:buClr>
                <a:srgbClr val="EE283C"/>
              </a:buClr>
              <a:buFont typeface="Wingdings" panose="05000000000000000000" pitchFamily="2" charset="2"/>
              <a:buChar char="¢"/>
            </a:pPr>
            <a:r>
              <a:rPr lang="en-US" sz="20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Cache is evicted automatically following LRU eviction principle if not called manually</a:t>
            </a:r>
            <a:endParaRPr lang="en-US" sz="2000" b="1" dirty="0">
              <a:solidFill>
                <a:srgbClr val="EE283C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/>
            </a:endParaRPr>
          </a:p>
        </p:txBody>
      </p:sp>
      <p:sp>
        <p:nvSpPr>
          <p:cNvPr id="14" name="Google Shape;926;p58">
            <a:extLst>
              <a:ext uri="{FF2B5EF4-FFF2-40B4-BE49-F238E27FC236}">
                <a16:creationId xmlns:a16="http://schemas.microsoft.com/office/drawing/2014/main" id="{515A25AE-0AAF-40B9-A0BE-6367B971F515}"/>
              </a:ext>
            </a:extLst>
          </p:cNvPr>
          <p:cNvSpPr txBox="1"/>
          <p:nvPr/>
        </p:nvSpPr>
        <p:spPr>
          <a:xfrm>
            <a:off x="5087802" y="1875532"/>
            <a:ext cx="2016396" cy="442641"/>
          </a:xfrm>
          <a:prstGeom prst="roundRect">
            <a:avLst>
              <a:gd name="adj" fmla="val 9264"/>
            </a:avLst>
          </a:prstGeom>
          <a:noFill/>
          <a:ln w="28575">
            <a:noFill/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</a:pPr>
            <a:r>
              <a:rPr lang="en-US" sz="2400" b="1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Unpersist</a:t>
            </a:r>
            <a:endParaRPr lang="en-US" sz="1800" dirty="0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2131997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  <p:bldP spid="12" grpId="0" build="p" animBg="1"/>
      <p:bldP spid="12" grpId="1" build="allAtOnce" animBg="1"/>
      <p:bldP spid="14" grpId="0"/>
      <p:bldP spid="14" grpId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Dividing Line">
            <a:extLst>
              <a:ext uri="{FF2B5EF4-FFF2-40B4-BE49-F238E27FC236}">
                <a16:creationId xmlns:a16="http://schemas.microsoft.com/office/drawing/2014/main" id="{7746C3DD-656B-4501-B21F-6DD364CFCB36}"/>
              </a:ext>
            </a:extLst>
          </p:cNvPr>
          <p:cNvCxnSpPr>
            <a:cxnSpLocks/>
          </p:cNvCxnSpPr>
          <p:nvPr/>
        </p:nvCxnSpPr>
        <p:spPr>
          <a:xfrm>
            <a:off x="6096000" y="1485220"/>
            <a:ext cx="0" cy="4529823"/>
          </a:xfrm>
          <a:prstGeom prst="line">
            <a:avLst/>
          </a:prstGeom>
          <a:ln w="25400" cap="rnd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Blue P4 Patch">
            <a:extLst>
              <a:ext uri="{FF2B5EF4-FFF2-40B4-BE49-F238E27FC236}">
                <a16:creationId xmlns:a16="http://schemas.microsoft.com/office/drawing/2014/main" id="{843C0383-A3EF-4D0A-8E4E-5B4C2159ADFB}"/>
              </a:ext>
            </a:extLst>
          </p:cNvPr>
          <p:cNvGrpSpPr/>
          <p:nvPr/>
        </p:nvGrpSpPr>
        <p:grpSpPr>
          <a:xfrm flipH="1">
            <a:off x="6011174" y="5162268"/>
            <a:ext cx="6085088" cy="909052"/>
            <a:chOff x="101316" y="1324259"/>
            <a:chExt cx="6085088" cy="909052"/>
          </a:xfrm>
        </p:grpSpPr>
        <p:sp>
          <p:nvSpPr>
            <p:cNvPr id="54" name="Yellow P1 Line">
              <a:extLst>
                <a:ext uri="{FF2B5EF4-FFF2-40B4-BE49-F238E27FC236}">
                  <a16:creationId xmlns:a16="http://schemas.microsoft.com/office/drawing/2014/main" id="{0342B40F-6F94-4ADF-AEEF-E92316C8EBF9}"/>
                </a:ext>
              </a:extLst>
            </p:cNvPr>
            <p:cNvSpPr/>
            <p:nvPr/>
          </p:nvSpPr>
          <p:spPr>
            <a:xfrm flipH="1">
              <a:off x="5691654" y="1752299"/>
              <a:ext cx="405297" cy="142402"/>
            </a:xfrm>
            <a:custGeom>
              <a:avLst/>
              <a:gdLst>
                <a:gd name="connsiteX0" fmla="*/ 0 w 523875"/>
                <a:gd name="connsiteY0" fmla="*/ 523875 h 523875"/>
                <a:gd name="connsiteX1" fmla="*/ 0 w 523875"/>
                <a:gd name="connsiteY1" fmla="*/ 0 h 523875"/>
                <a:gd name="connsiteX2" fmla="*/ 523875 w 523875"/>
                <a:gd name="connsiteY2" fmla="*/ 523875 h 523875"/>
                <a:gd name="connsiteX3" fmla="*/ 0 w 523875"/>
                <a:gd name="connsiteY3" fmla="*/ 523875 h 523875"/>
                <a:gd name="connsiteX0" fmla="*/ 523875 w 615315"/>
                <a:gd name="connsiteY0" fmla="*/ 523875 h 615315"/>
                <a:gd name="connsiteX1" fmla="*/ 0 w 615315"/>
                <a:gd name="connsiteY1" fmla="*/ 523875 h 615315"/>
                <a:gd name="connsiteX2" fmla="*/ 0 w 615315"/>
                <a:gd name="connsiteY2" fmla="*/ 0 h 615315"/>
                <a:gd name="connsiteX3" fmla="*/ 615315 w 615315"/>
                <a:gd name="connsiteY3" fmla="*/ 615315 h 615315"/>
                <a:gd name="connsiteX0" fmla="*/ 523875 w 523875"/>
                <a:gd name="connsiteY0" fmla="*/ 523875 h 523875"/>
                <a:gd name="connsiteX1" fmla="*/ 0 w 523875"/>
                <a:gd name="connsiteY1" fmla="*/ 523875 h 523875"/>
                <a:gd name="connsiteX2" fmla="*/ 0 w 523875"/>
                <a:gd name="connsiteY2" fmla="*/ 0 h 523875"/>
                <a:gd name="connsiteX0" fmla="*/ 523875 w 523875"/>
                <a:gd name="connsiteY0" fmla="*/ 523875 h 523875"/>
                <a:gd name="connsiteX1" fmla="*/ 203200 w 523875"/>
                <a:gd name="connsiteY1" fmla="*/ 523875 h 523875"/>
                <a:gd name="connsiteX2" fmla="*/ 0 w 523875"/>
                <a:gd name="connsiteY2" fmla="*/ 0 h 523875"/>
                <a:gd name="connsiteX0" fmla="*/ 410322 w 410322"/>
                <a:gd name="connsiteY0" fmla="*/ 225052 h 225052"/>
                <a:gd name="connsiteX1" fmla="*/ 89647 w 410322"/>
                <a:gd name="connsiteY1" fmla="*/ 225052 h 225052"/>
                <a:gd name="connsiteX2" fmla="*/ 0 w 410322"/>
                <a:gd name="connsiteY2" fmla="*/ 0 h 225052"/>
                <a:gd name="connsiteX0" fmla="*/ 410322 w 410322"/>
                <a:gd name="connsiteY0" fmla="*/ 225052 h 225052"/>
                <a:gd name="connsiteX1" fmla="*/ 197223 w 410322"/>
                <a:gd name="connsiteY1" fmla="*/ 219075 h 225052"/>
                <a:gd name="connsiteX2" fmla="*/ 0 w 410322"/>
                <a:gd name="connsiteY2" fmla="*/ 0 h 225052"/>
                <a:gd name="connsiteX0" fmla="*/ 410322 w 410322"/>
                <a:gd name="connsiteY0" fmla="*/ 195170 h 195170"/>
                <a:gd name="connsiteX1" fmla="*/ 197223 w 410322"/>
                <a:gd name="connsiteY1" fmla="*/ 189193 h 195170"/>
                <a:gd name="connsiteX2" fmla="*/ 0 w 410322"/>
                <a:gd name="connsiteY2" fmla="*/ 0 h 195170"/>
                <a:gd name="connsiteX0" fmla="*/ 405297 w 405297"/>
                <a:gd name="connsiteY0" fmla="*/ 5977 h 142402"/>
                <a:gd name="connsiteX1" fmla="*/ 192198 w 405297"/>
                <a:gd name="connsiteY1" fmla="*/ 0 h 142402"/>
                <a:gd name="connsiteX2" fmla="*/ 0 w 405297"/>
                <a:gd name="connsiteY2" fmla="*/ 142402 h 142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5297" h="142402">
                  <a:moveTo>
                    <a:pt x="405297" y="5977"/>
                  </a:moveTo>
                  <a:lnTo>
                    <a:pt x="192198" y="0"/>
                  </a:lnTo>
                  <a:lnTo>
                    <a:pt x="0" y="142402"/>
                  </a:lnTo>
                </a:path>
              </a:pathLst>
            </a:custGeom>
            <a:noFill/>
            <a:ln w="25400">
              <a:solidFill>
                <a:srgbClr val="7671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55" name="Yellow Small Circle">
              <a:extLst>
                <a:ext uri="{FF2B5EF4-FFF2-40B4-BE49-F238E27FC236}">
                  <a16:creationId xmlns:a16="http://schemas.microsoft.com/office/drawing/2014/main" id="{F37762B3-A078-4430-80A8-9578A6CE8E9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011716" y="1794246"/>
              <a:ext cx="174688" cy="174688"/>
              <a:chOff x="5980364" y="2010546"/>
              <a:chExt cx="291146" cy="291145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2064CC94-4B7C-4D23-851D-F879881D270C}"/>
                  </a:ext>
                </a:extLst>
              </p:cNvPr>
              <p:cNvSpPr/>
              <p:nvPr/>
            </p:nvSpPr>
            <p:spPr>
              <a:xfrm>
                <a:off x="5980364" y="2010546"/>
                <a:ext cx="291146" cy="291145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4890E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A7A7462E-BE51-4CBB-BB17-60875746483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6" y="2040252"/>
                <a:ext cx="231724" cy="231724"/>
              </a:xfrm>
              <a:prstGeom prst="ellipse">
                <a:avLst/>
              </a:prstGeom>
              <a:solidFill>
                <a:srgbClr val="4890E4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56" name="Yellow Patch">
              <a:extLst>
                <a:ext uri="{FF2B5EF4-FFF2-40B4-BE49-F238E27FC236}">
                  <a16:creationId xmlns:a16="http://schemas.microsoft.com/office/drawing/2014/main" id="{93548618-54F7-4906-9614-9411CF7707A6}"/>
                </a:ext>
              </a:extLst>
            </p:cNvPr>
            <p:cNvGrpSpPr/>
            <p:nvPr/>
          </p:nvGrpSpPr>
          <p:grpSpPr>
            <a:xfrm>
              <a:off x="101316" y="1324259"/>
              <a:ext cx="5668583" cy="909052"/>
              <a:chOff x="101316" y="1324259"/>
              <a:chExt cx="5668583" cy="909052"/>
            </a:xfrm>
          </p:grpSpPr>
          <p:sp>
            <p:nvSpPr>
              <p:cNvPr id="60" name="Rectangle: Rounded Corners 59">
                <a:extLst>
                  <a:ext uri="{FF2B5EF4-FFF2-40B4-BE49-F238E27FC236}">
                    <a16:creationId xmlns:a16="http://schemas.microsoft.com/office/drawing/2014/main" id="{C244D5BC-65E5-4EE7-BA5E-D89C81E01F1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43130" y="1331632"/>
                <a:ext cx="5426769" cy="886929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38100">
                <a:solidFill>
                  <a:srgbClr val="4890E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1" name="Rectangle 29">
                <a:extLst>
                  <a:ext uri="{FF2B5EF4-FFF2-40B4-BE49-F238E27FC236}">
                    <a16:creationId xmlns:a16="http://schemas.microsoft.com/office/drawing/2014/main" id="{AD68E2D1-4968-4461-B188-654E90B726CF}"/>
                  </a:ext>
                </a:extLst>
              </p:cNvPr>
              <p:cNvSpPr/>
              <p:nvPr/>
            </p:nvSpPr>
            <p:spPr>
              <a:xfrm>
                <a:off x="101316" y="1324259"/>
                <a:ext cx="4319769" cy="909052"/>
              </a:xfrm>
              <a:custGeom>
                <a:avLst/>
                <a:gdLst>
                  <a:gd name="connsiteX0" fmla="*/ 0 w 4324832"/>
                  <a:gd name="connsiteY0" fmla="*/ 0 h 886929"/>
                  <a:gd name="connsiteX1" fmla="*/ 4324832 w 4324832"/>
                  <a:gd name="connsiteY1" fmla="*/ 0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22122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901678"/>
                  <a:gd name="connsiteX1" fmla="*/ 4324832 w 4324832"/>
                  <a:gd name="connsiteY1" fmla="*/ 36871 h 901678"/>
                  <a:gd name="connsiteX2" fmla="*/ 4324832 w 4324832"/>
                  <a:gd name="connsiteY2" fmla="*/ 879556 h 901678"/>
                  <a:gd name="connsiteX3" fmla="*/ 0 w 4324832"/>
                  <a:gd name="connsiteY3" fmla="*/ 901678 h 901678"/>
                  <a:gd name="connsiteX4" fmla="*/ 0 w 4324832"/>
                  <a:gd name="connsiteY4" fmla="*/ 0 h 901678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31176"/>
                  <a:gd name="connsiteX1" fmla="*/ 4324832 w 4324832"/>
                  <a:gd name="connsiteY1" fmla="*/ 36871 h 931176"/>
                  <a:gd name="connsiteX2" fmla="*/ 4324832 w 4324832"/>
                  <a:gd name="connsiteY2" fmla="*/ 879556 h 931176"/>
                  <a:gd name="connsiteX3" fmla="*/ 0 w 4324832"/>
                  <a:gd name="connsiteY3" fmla="*/ 931176 h 931176"/>
                  <a:gd name="connsiteX4" fmla="*/ 0 w 4324832"/>
                  <a:gd name="connsiteY4" fmla="*/ 0 h 931176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09052"/>
                  <a:gd name="connsiteX1" fmla="*/ 4324832 w 4324832"/>
                  <a:gd name="connsiteY1" fmla="*/ 29496 h 909052"/>
                  <a:gd name="connsiteX2" fmla="*/ 4324832 w 4324832"/>
                  <a:gd name="connsiteY2" fmla="*/ 872181 h 909052"/>
                  <a:gd name="connsiteX3" fmla="*/ 0 w 4324832"/>
                  <a:gd name="connsiteY3" fmla="*/ 909052 h 909052"/>
                  <a:gd name="connsiteX4" fmla="*/ 0 w 4324832"/>
                  <a:gd name="connsiteY4" fmla="*/ 0 h 90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4832" h="909052">
                    <a:moveTo>
                      <a:pt x="0" y="0"/>
                    </a:moveTo>
                    <a:lnTo>
                      <a:pt x="4324832" y="29496"/>
                    </a:lnTo>
                    <a:lnTo>
                      <a:pt x="4324832" y="872181"/>
                    </a:lnTo>
                    <a:lnTo>
                      <a:pt x="0" y="9090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57" name="Yellow Big Circle">
              <a:extLst>
                <a:ext uri="{FF2B5EF4-FFF2-40B4-BE49-F238E27FC236}">
                  <a16:creationId xmlns:a16="http://schemas.microsoft.com/office/drawing/2014/main" id="{2C475ADA-CD3F-4BC9-A1D0-35E94FDDD75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85235" y="1590023"/>
              <a:ext cx="351252" cy="351252"/>
              <a:chOff x="5980364" y="1469777"/>
              <a:chExt cx="291146" cy="291146"/>
            </a:xfrm>
          </p:grpSpPr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7832B88E-01F1-4AE2-8854-AA7CCC998C8A}"/>
                  </a:ext>
                </a:extLst>
              </p:cNvPr>
              <p:cNvSpPr/>
              <p:nvPr/>
            </p:nvSpPr>
            <p:spPr>
              <a:xfrm>
                <a:off x="5980364" y="1469777"/>
                <a:ext cx="291146" cy="291146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4890E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AEBF03F1-8FB8-4D2A-9A05-17EB98C19D8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5" y="1499488"/>
                <a:ext cx="231725" cy="231725"/>
              </a:xfrm>
              <a:prstGeom prst="ellipse">
                <a:avLst/>
              </a:prstGeom>
              <a:solidFill>
                <a:srgbClr val="4890E4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64" name="Blue P4">
            <a:extLst>
              <a:ext uri="{FF2B5EF4-FFF2-40B4-BE49-F238E27FC236}">
                <a16:creationId xmlns:a16="http://schemas.microsoft.com/office/drawing/2014/main" id="{49570D06-79DB-4324-BE07-27B2861FE0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51261" y="5194754"/>
            <a:ext cx="4307185" cy="820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ctr" anchorCtr="0">
            <a:spAutoFit/>
          </a:bodyPr>
          <a:lstStyle/>
          <a:p>
            <a:pPr lvl="0">
              <a:lnSpc>
                <a:spcPct val="107000"/>
              </a:lnSpc>
              <a:spcAft>
                <a:spcPts val="800"/>
              </a:spcAft>
              <a:buClrTx/>
            </a:pPr>
            <a:r>
              <a:rPr lang="en-US" sz="1500" kern="1200" dirty="0">
                <a:solidFill>
                  <a:prstClr val="black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lthough automatic replacement of unhealthy nodes offers a maintenance advantage, this poses a risk of data loss</a:t>
            </a:r>
          </a:p>
        </p:txBody>
      </p:sp>
      <p:grpSp>
        <p:nvGrpSpPr>
          <p:cNvPr id="65" name="Yellow P4 Patch">
            <a:extLst>
              <a:ext uri="{FF2B5EF4-FFF2-40B4-BE49-F238E27FC236}">
                <a16:creationId xmlns:a16="http://schemas.microsoft.com/office/drawing/2014/main" id="{6808CA1E-9EE5-40EB-9991-0BEF94F38A39}"/>
              </a:ext>
            </a:extLst>
          </p:cNvPr>
          <p:cNvGrpSpPr/>
          <p:nvPr/>
        </p:nvGrpSpPr>
        <p:grpSpPr>
          <a:xfrm>
            <a:off x="204213" y="5162268"/>
            <a:ext cx="5982191" cy="909052"/>
            <a:chOff x="204213" y="1324259"/>
            <a:chExt cx="5982191" cy="909052"/>
          </a:xfrm>
        </p:grpSpPr>
        <p:sp>
          <p:nvSpPr>
            <p:cNvPr id="66" name="Yellow P1 Line">
              <a:extLst>
                <a:ext uri="{FF2B5EF4-FFF2-40B4-BE49-F238E27FC236}">
                  <a16:creationId xmlns:a16="http://schemas.microsoft.com/office/drawing/2014/main" id="{75A6784D-CC5E-4DE6-A48B-A5EFB3D547B8}"/>
                </a:ext>
              </a:extLst>
            </p:cNvPr>
            <p:cNvSpPr/>
            <p:nvPr/>
          </p:nvSpPr>
          <p:spPr>
            <a:xfrm flipH="1">
              <a:off x="5691654" y="1563105"/>
              <a:ext cx="410322" cy="195170"/>
            </a:xfrm>
            <a:custGeom>
              <a:avLst/>
              <a:gdLst>
                <a:gd name="connsiteX0" fmla="*/ 0 w 523875"/>
                <a:gd name="connsiteY0" fmla="*/ 523875 h 523875"/>
                <a:gd name="connsiteX1" fmla="*/ 0 w 523875"/>
                <a:gd name="connsiteY1" fmla="*/ 0 h 523875"/>
                <a:gd name="connsiteX2" fmla="*/ 523875 w 523875"/>
                <a:gd name="connsiteY2" fmla="*/ 523875 h 523875"/>
                <a:gd name="connsiteX3" fmla="*/ 0 w 523875"/>
                <a:gd name="connsiteY3" fmla="*/ 523875 h 523875"/>
                <a:gd name="connsiteX0" fmla="*/ 523875 w 615315"/>
                <a:gd name="connsiteY0" fmla="*/ 523875 h 615315"/>
                <a:gd name="connsiteX1" fmla="*/ 0 w 615315"/>
                <a:gd name="connsiteY1" fmla="*/ 523875 h 615315"/>
                <a:gd name="connsiteX2" fmla="*/ 0 w 615315"/>
                <a:gd name="connsiteY2" fmla="*/ 0 h 615315"/>
                <a:gd name="connsiteX3" fmla="*/ 615315 w 615315"/>
                <a:gd name="connsiteY3" fmla="*/ 615315 h 615315"/>
                <a:gd name="connsiteX0" fmla="*/ 523875 w 523875"/>
                <a:gd name="connsiteY0" fmla="*/ 523875 h 523875"/>
                <a:gd name="connsiteX1" fmla="*/ 0 w 523875"/>
                <a:gd name="connsiteY1" fmla="*/ 523875 h 523875"/>
                <a:gd name="connsiteX2" fmla="*/ 0 w 523875"/>
                <a:gd name="connsiteY2" fmla="*/ 0 h 523875"/>
                <a:gd name="connsiteX0" fmla="*/ 523875 w 523875"/>
                <a:gd name="connsiteY0" fmla="*/ 523875 h 523875"/>
                <a:gd name="connsiteX1" fmla="*/ 203200 w 523875"/>
                <a:gd name="connsiteY1" fmla="*/ 523875 h 523875"/>
                <a:gd name="connsiteX2" fmla="*/ 0 w 523875"/>
                <a:gd name="connsiteY2" fmla="*/ 0 h 523875"/>
                <a:gd name="connsiteX0" fmla="*/ 410322 w 410322"/>
                <a:gd name="connsiteY0" fmla="*/ 225052 h 225052"/>
                <a:gd name="connsiteX1" fmla="*/ 89647 w 410322"/>
                <a:gd name="connsiteY1" fmla="*/ 225052 h 225052"/>
                <a:gd name="connsiteX2" fmla="*/ 0 w 410322"/>
                <a:gd name="connsiteY2" fmla="*/ 0 h 225052"/>
                <a:gd name="connsiteX0" fmla="*/ 410322 w 410322"/>
                <a:gd name="connsiteY0" fmla="*/ 225052 h 225052"/>
                <a:gd name="connsiteX1" fmla="*/ 197223 w 410322"/>
                <a:gd name="connsiteY1" fmla="*/ 219075 h 225052"/>
                <a:gd name="connsiteX2" fmla="*/ 0 w 410322"/>
                <a:gd name="connsiteY2" fmla="*/ 0 h 225052"/>
                <a:gd name="connsiteX0" fmla="*/ 410322 w 410322"/>
                <a:gd name="connsiteY0" fmla="*/ 195170 h 195170"/>
                <a:gd name="connsiteX1" fmla="*/ 197223 w 410322"/>
                <a:gd name="connsiteY1" fmla="*/ 189193 h 195170"/>
                <a:gd name="connsiteX2" fmla="*/ 0 w 410322"/>
                <a:gd name="connsiteY2" fmla="*/ 0 h 195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0322" h="195170">
                  <a:moveTo>
                    <a:pt x="410322" y="195170"/>
                  </a:moveTo>
                  <a:lnTo>
                    <a:pt x="197223" y="189193"/>
                  </a:lnTo>
                  <a:lnTo>
                    <a:pt x="0" y="0"/>
                  </a:lnTo>
                </a:path>
              </a:pathLst>
            </a:custGeom>
            <a:noFill/>
            <a:ln w="25400">
              <a:solidFill>
                <a:srgbClr val="7671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7" name="Yellow Small Circle">
              <a:extLst>
                <a:ext uri="{FF2B5EF4-FFF2-40B4-BE49-F238E27FC236}">
                  <a16:creationId xmlns:a16="http://schemas.microsoft.com/office/drawing/2014/main" id="{2BF34E69-E355-49B6-81E3-AE9F833E715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011716" y="1469783"/>
              <a:ext cx="174688" cy="174688"/>
              <a:chOff x="5980364" y="1469777"/>
              <a:chExt cx="291146" cy="291146"/>
            </a:xfrm>
          </p:grpSpPr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212C03D1-C4BF-4044-B601-ED823E2C5FFC}"/>
                  </a:ext>
                </a:extLst>
              </p:cNvPr>
              <p:cNvSpPr/>
              <p:nvPr/>
            </p:nvSpPr>
            <p:spPr>
              <a:xfrm>
                <a:off x="5980364" y="1469777"/>
                <a:ext cx="291146" cy="291146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F4AB3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53B187D1-2702-416C-878D-3079D6AFA41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5" y="1499488"/>
                <a:ext cx="231725" cy="231725"/>
              </a:xfrm>
              <a:prstGeom prst="ellipse">
                <a:avLst/>
              </a:prstGeom>
              <a:solidFill>
                <a:srgbClr val="F4AB35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68" name="Yellow Patch">
              <a:extLst>
                <a:ext uri="{FF2B5EF4-FFF2-40B4-BE49-F238E27FC236}">
                  <a16:creationId xmlns:a16="http://schemas.microsoft.com/office/drawing/2014/main" id="{B0000262-19A0-4A1C-80CD-D81B8CBB546B}"/>
                </a:ext>
              </a:extLst>
            </p:cNvPr>
            <p:cNvGrpSpPr/>
            <p:nvPr/>
          </p:nvGrpSpPr>
          <p:grpSpPr>
            <a:xfrm>
              <a:off x="204213" y="1324259"/>
              <a:ext cx="5565686" cy="909052"/>
              <a:chOff x="204213" y="1324259"/>
              <a:chExt cx="5565686" cy="909052"/>
            </a:xfrm>
          </p:grpSpPr>
          <p:sp>
            <p:nvSpPr>
              <p:cNvPr id="72" name="Rectangle: Rounded Corners 71">
                <a:extLst>
                  <a:ext uri="{FF2B5EF4-FFF2-40B4-BE49-F238E27FC236}">
                    <a16:creationId xmlns:a16="http://schemas.microsoft.com/office/drawing/2014/main" id="{E32D7C5F-5A30-4C92-A87E-4E43AF7D987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43130" y="1331632"/>
                <a:ext cx="5426769" cy="886929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38100">
                <a:solidFill>
                  <a:srgbClr val="F4AB3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Rectangle 29">
                <a:extLst>
                  <a:ext uri="{FF2B5EF4-FFF2-40B4-BE49-F238E27FC236}">
                    <a16:creationId xmlns:a16="http://schemas.microsoft.com/office/drawing/2014/main" id="{15545395-BF32-425B-AC94-C20C142B8392}"/>
                  </a:ext>
                </a:extLst>
              </p:cNvPr>
              <p:cNvSpPr/>
              <p:nvPr/>
            </p:nvSpPr>
            <p:spPr>
              <a:xfrm>
                <a:off x="204213" y="1324259"/>
                <a:ext cx="4216872" cy="909052"/>
              </a:xfrm>
              <a:custGeom>
                <a:avLst/>
                <a:gdLst>
                  <a:gd name="connsiteX0" fmla="*/ 0 w 4324832"/>
                  <a:gd name="connsiteY0" fmla="*/ 0 h 886929"/>
                  <a:gd name="connsiteX1" fmla="*/ 4324832 w 4324832"/>
                  <a:gd name="connsiteY1" fmla="*/ 0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22122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901678"/>
                  <a:gd name="connsiteX1" fmla="*/ 4324832 w 4324832"/>
                  <a:gd name="connsiteY1" fmla="*/ 36871 h 901678"/>
                  <a:gd name="connsiteX2" fmla="*/ 4324832 w 4324832"/>
                  <a:gd name="connsiteY2" fmla="*/ 879556 h 901678"/>
                  <a:gd name="connsiteX3" fmla="*/ 0 w 4324832"/>
                  <a:gd name="connsiteY3" fmla="*/ 901678 h 901678"/>
                  <a:gd name="connsiteX4" fmla="*/ 0 w 4324832"/>
                  <a:gd name="connsiteY4" fmla="*/ 0 h 901678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31176"/>
                  <a:gd name="connsiteX1" fmla="*/ 4324832 w 4324832"/>
                  <a:gd name="connsiteY1" fmla="*/ 36871 h 931176"/>
                  <a:gd name="connsiteX2" fmla="*/ 4324832 w 4324832"/>
                  <a:gd name="connsiteY2" fmla="*/ 879556 h 931176"/>
                  <a:gd name="connsiteX3" fmla="*/ 0 w 4324832"/>
                  <a:gd name="connsiteY3" fmla="*/ 931176 h 931176"/>
                  <a:gd name="connsiteX4" fmla="*/ 0 w 4324832"/>
                  <a:gd name="connsiteY4" fmla="*/ 0 h 931176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09052"/>
                  <a:gd name="connsiteX1" fmla="*/ 4324832 w 4324832"/>
                  <a:gd name="connsiteY1" fmla="*/ 29496 h 909052"/>
                  <a:gd name="connsiteX2" fmla="*/ 4324832 w 4324832"/>
                  <a:gd name="connsiteY2" fmla="*/ 872181 h 909052"/>
                  <a:gd name="connsiteX3" fmla="*/ 0 w 4324832"/>
                  <a:gd name="connsiteY3" fmla="*/ 909052 h 909052"/>
                  <a:gd name="connsiteX4" fmla="*/ 0 w 4324832"/>
                  <a:gd name="connsiteY4" fmla="*/ 0 h 90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4832" h="909052">
                    <a:moveTo>
                      <a:pt x="0" y="0"/>
                    </a:moveTo>
                    <a:lnTo>
                      <a:pt x="4324832" y="29496"/>
                    </a:lnTo>
                    <a:lnTo>
                      <a:pt x="4324832" y="872181"/>
                    </a:lnTo>
                    <a:lnTo>
                      <a:pt x="0" y="9090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69" name="Yellow Big Circle">
              <a:extLst>
                <a:ext uri="{FF2B5EF4-FFF2-40B4-BE49-F238E27FC236}">
                  <a16:creationId xmlns:a16="http://schemas.microsoft.com/office/drawing/2014/main" id="{30B30F84-731D-4E10-975C-5D44142EE9C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85235" y="1590023"/>
              <a:ext cx="351252" cy="351252"/>
              <a:chOff x="5980364" y="1469777"/>
              <a:chExt cx="291146" cy="291146"/>
            </a:xfrm>
          </p:grpSpPr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3412DC31-8EF9-42F1-8C29-3092348EBB50}"/>
                  </a:ext>
                </a:extLst>
              </p:cNvPr>
              <p:cNvSpPr/>
              <p:nvPr/>
            </p:nvSpPr>
            <p:spPr>
              <a:xfrm>
                <a:off x="5980364" y="1469777"/>
                <a:ext cx="291146" cy="291146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F4AB3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C3AE104C-D3AD-46B0-AE10-56E128B672E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5" y="1499488"/>
                <a:ext cx="231725" cy="231725"/>
              </a:xfrm>
              <a:prstGeom prst="ellipse">
                <a:avLst/>
              </a:prstGeom>
              <a:solidFill>
                <a:srgbClr val="F4AB35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76" name="Yellow P4">
            <a:extLst>
              <a:ext uri="{FF2B5EF4-FFF2-40B4-BE49-F238E27FC236}">
                <a16:creationId xmlns:a16="http://schemas.microsoft.com/office/drawing/2014/main" id="{9C181A04-A275-416E-B3E5-2879C9ABDF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8032" y="5194754"/>
            <a:ext cx="4307185" cy="820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ctr" anchorCtr="0">
            <a:spAutoFit/>
          </a:bodyPr>
          <a:lstStyle/>
          <a:p>
            <a:pPr lvl="0" algn="r">
              <a:lnSpc>
                <a:spcPct val="107000"/>
              </a:lnSpc>
              <a:spcAft>
                <a:spcPts val="800"/>
              </a:spcAft>
              <a:buClrTx/>
            </a:pPr>
            <a:r>
              <a:rPr lang="en-US" sz="1500" kern="1200" dirty="0">
                <a:solidFill>
                  <a:prstClr val="black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nables highly availability of slave nodes due to constant monitoring and replaces unhealthy nodes with new nodes</a:t>
            </a:r>
          </a:p>
        </p:txBody>
      </p:sp>
      <p:grpSp>
        <p:nvGrpSpPr>
          <p:cNvPr id="29" name="Blue P3 Patch">
            <a:extLst>
              <a:ext uri="{FF2B5EF4-FFF2-40B4-BE49-F238E27FC236}">
                <a16:creationId xmlns:a16="http://schemas.microsoft.com/office/drawing/2014/main" id="{02D57A02-1975-4DC3-B242-3E1CD546C7D3}"/>
              </a:ext>
            </a:extLst>
          </p:cNvPr>
          <p:cNvGrpSpPr/>
          <p:nvPr/>
        </p:nvGrpSpPr>
        <p:grpSpPr>
          <a:xfrm flipH="1">
            <a:off x="6011174" y="3960269"/>
            <a:ext cx="6085088" cy="909052"/>
            <a:chOff x="101316" y="1324259"/>
            <a:chExt cx="6085088" cy="909052"/>
          </a:xfrm>
        </p:grpSpPr>
        <p:sp>
          <p:nvSpPr>
            <p:cNvPr id="30" name="Yellow P1 Line">
              <a:extLst>
                <a:ext uri="{FF2B5EF4-FFF2-40B4-BE49-F238E27FC236}">
                  <a16:creationId xmlns:a16="http://schemas.microsoft.com/office/drawing/2014/main" id="{2D11933C-0477-4B49-B98C-1AF142F040CD}"/>
                </a:ext>
              </a:extLst>
            </p:cNvPr>
            <p:cNvSpPr/>
            <p:nvPr/>
          </p:nvSpPr>
          <p:spPr>
            <a:xfrm flipH="1">
              <a:off x="5691654" y="1752299"/>
              <a:ext cx="405297" cy="142402"/>
            </a:xfrm>
            <a:custGeom>
              <a:avLst/>
              <a:gdLst>
                <a:gd name="connsiteX0" fmla="*/ 0 w 523875"/>
                <a:gd name="connsiteY0" fmla="*/ 523875 h 523875"/>
                <a:gd name="connsiteX1" fmla="*/ 0 w 523875"/>
                <a:gd name="connsiteY1" fmla="*/ 0 h 523875"/>
                <a:gd name="connsiteX2" fmla="*/ 523875 w 523875"/>
                <a:gd name="connsiteY2" fmla="*/ 523875 h 523875"/>
                <a:gd name="connsiteX3" fmla="*/ 0 w 523875"/>
                <a:gd name="connsiteY3" fmla="*/ 523875 h 523875"/>
                <a:gd name="connsiteX0" fmla="*/ 523875 w 615315"/>
                <a:gd name="connsiteY0" fmla="*/ 523875 h 615315"/>
                <a:gd name="connsiteX1" fmla="*/ 0 w 615315"/>
                <a:gd name="connsiteY1" fmla="*/ 523875 h 615315"/>
                <a:gd name="connsiteX2" fmla="*/ 0 w 615315"/>
                <a:gd name="connsiteY2" fmla="*/ 0 h 615315"/>
                <a:gd name="connsiteX3" fmla="*/ 615315 w 615315"/>
                <a:gd name="connsiteY3" fmla="*/ 615315 h 615315"/>
                <a:gd name="connsiteX0" fmla="*/ 523875 w 523875"/>
                <a:gd name="connsiteY0" fmla="*/ 523875 h 523875"/>
                <a:gd name="connsiteX1" fmla="*/ 0 w 523875"/>
                <a:gd name="connsiteY1" fmla="*/ 523875 h 523875"/>
                <a:gd name="connsiteX2" fmla="*/ 0 w 523875"/>
                <a:gd name="connsiteY2" fmla="*/ 0 h 523875"/>
                <a:gd name="connsiteX0" fmla="*/ 523875 w 523875"/>
                <a:gd name="connsiteY0" fmla="*/ 523875 h 523875"/>
                <a:gd name="connsiteX1" fmla="*/ 203200 w 523875"/>
                <a:gd name="connsiteY1" fmla="*/ 523875 h 523875"/>
                <a:gd name="connsiteX2" fmla="*/ 0 w 523875"/>
                <a:gd name="connsiteY2" fmla="*/ 0 h 523875"/>
                <a:gd name="connsiteX0" fmla="*/ 410322 w 410322"/>
                <a:gd name="connsiteY0" fmla="*/ 225052 h 225052"/>
                <a:gd name="connsiteX1" fmla="*/ 89647 w 410322"/>
                <a:gd name="connsiteY1" fmla="*/ 225052 h 225052"/>
                <a:gd name="connsiteX2" fmla="*/ 0 w 410322"/>
                <a:gd name="connsiteY2" fmla="*/ 0 h 225052"/>
                <a:gd name="connsiteX0" fmla="*/ 410322 w 410322"/>
                <a:gd name="connsiteY0" fmla="*/ 225052 h 225052"/>
                <a:gd name="connsiteX1" fmla="*/ 197223 w 410322"/>
                <a:gd name="connsiteY1" fmla="*/ 219075 h 225052"/>
                <a:gd name="connsiteX2" fmla="*/ 0 w 410322"/>
                <a:gd name="connsiteY2" fmla="*/ 0 h 225052"/>
                <a:gd name="connsiteX0" fmla="*/ 410322 w 410322"/>
                <a:gd name="connsiteY0" fmla="*/ 195170 h 195170"/>
                <a:gd name="connsiteX1" fmla="*/ 197223 w 410322"/>
                <a:gd name="connsiteY1" fmla="*/ 189193 h 195170"/>
                <a:gd name="connsiteX2" fmla="*/ 0 w 410322"/>
                <a:gd name="connsiteY2" fmla="*/ 0 h 195170"/>
                <a:gd name="connsiteX0" fmla="*/ 405297 w 405297"/>
                <a:gd name="connsiteY0" fmla="*/ 5977 h 142402"/>
                <a:gd name="connsiteX1" fmla="*/ 192198 w 405297"/>
                <a:gd name="connsiteY1" fmla="*/ 0 h 142402"/>
                <a:gd name="connsiteX2" fmla="*/ 0 w 405297"/>
                <a:gd name="connsiteY2" fmla="*/ 142402 h 142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5297" h="142402">
                  <a:moveTo>
                    <a:pt x="405297" y="5977"/>
                  </a:moveTo>
                  <a:lnTo>
                    <a:pt x="192198" y="0"/>
                  </a:lnTo>
                  <a:lnTo>
                    <a:pt x="0" y="142402"/>
                  </a:lnTo>
                </a:path>
              </a:pathLst>
            </a:custGeom>
            <a:noFill/>
            <a:ln w="25400">
              <a:solidFill>
                <a:srgbClr val="7671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1" name="Yellow Small Circle">
              <a:extLst>
                <a:ext uri="{FF2B5EF4-FFF2-40B4-BE49-F238E27FC236}">
                  <a16:creationId xmlns:a16="http://schemas.microsoft.com/office/drawing/2014/main" id="{4CB17E7B-F215-4B9D-8216-B314E0C5E4A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011716" y="1794246"/>
              <a:ext cx="174688" cy="174688"/>
              <a:chOff x="5980364" y="2010546"/>
              <a:chExt cx="291146" cy="291145"/>
            </a:xfrm>
          </p:grpSpPr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447C4D33-86F0-4F77-965C-7E486858D27D}"/>
                  </a:ext>
                </a:extLst>
              </p:cNvPr>
              <p:cNvSpPr/>
              <p:nvPr/>
            </p:nvSpPr>
            <p:spPr>
              <a:xfrm>
                <a:off x="5980364" y="2010546"/>
                <a:ext cx="291146" cy="291145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4890E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251812F7-432E-43D5-B38D-50E12071191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6" y="2040252"/>
                <a:ext cx="231724" cy="231724"/>
              </a:xfrm>
              <a:prstGeom prst="ellipse">
                <a:avLst/>
              </a:prstGeom>
              <a:solidFill>
                <a:srgbClr val="4890E4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2" name="Yellow Patch">
              <a:extLst>
                <a:ext uri="{FF2B5EF4-FFF2-40B4-BE49-F238E27FC236}">
                  <a16:creationId xmlns:a16="http://schemas.microsoft.com/office/drawing/2014/main" id="{E46A37D9-C5C7-4ACD-85BB-C7B53F7FAE77}"/>
                </a:ext>
              </a:extLst>
            </p:cNvPr>
            <p:cNvGrpSpPr/>
            <p:nvPr/>
          </p:nvGrpSpPr>
          <p:grpSpPr>
            <a:xfrm>
              <a:off x="101316" y="1324259"/>
              <a:ext cx="5668583" cy="909052"/>
              <a:chOff x="101316" y="1324259"/>
              <a:chExt cx="5668583" cy="909052"/>
            </a:xfrm>
          </p:grpSpPr>
          <p:sp>
            <p:nvSpPr>
              <p:cNvPr id="36" name="Rectangle: Rounded Corners 35">
                <a:extLst>
                  <a:ext uri="{FF2B5EF4-FFF2-40B4-BE49-F238E27FC236}">
                    <a16:creationId xmlns:a16="http://schemas.microsoft.com/office/drawing/2014/main" id="{41CCB4CA-FC5E-4AD6-BD78-4F2D3893DA7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43130" y="1331632"/>
                <a:ext cx="5426769" cy="886929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38100">
                <a:solidFill>
                  <a:srgbClr val="4890E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" name="Rectangle 29">
                <a:extLst>
                  <a:ext uri="{FF2B5EF4-FFF2-40B4-BE49-F238E27FC236}">
                    <a16:creationId xmlns:a16="http://schemas.microsoft.com/office/drawing/2014/main" id="{C6F6AAEF-C4AB-46A5-BC24-62A74B6E1828}"/>
                  </a:ext>
                </a:extLst>
              </p:cNvPr>
              <p:cNvSpPr/>
              <p:nvPr/>
            </p:nvSpPr>
            <p:spPr>
              <a:xfrm>
                <a:off x="101316" y="1324259"/>
                <a:ext cx="4319769" cy="909052"/>
              </a:xfrm>
              <a:custGeom>
                <a:avLst/>
                <a:gdLst>
                  <a:gd name="connsiteX0" fmla="*/ 0 w 4324832"/>
                  <a:gd name="connsiteY0" fmla="*/ 0 h 886929"/>
                  <a:gd name="connsiteX1" fmla="*/ 4324832 w 4324832"/>
                  <a:gd name="connsiteY1" fmla="*/ 0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22122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901678"/>
                  <a:gd name="connsiteX1" fmla="*/ 4324832 w 4324832"/>
                  <a:gd name="connsiteY1" fmla="*/ 36871 h 901678"/>
                  <a:gd name="connsiteX2" fmla="*/ 4324832 w 4324832"/>
                  <a:gd name="connsiteY2" fmla="*/ 879556 h 901678"/>
                  <a:gd name="connsiteX3" fmla="*/ 0 w 4324832"/>
                  <a:gd name="connsiteY3" fmla="*/ 901678 h 901678"/>
                  <a:gd name="connsiteX4" fmla="*/ 0 w 4324832"/>
                  <a:gd name="connsiteY4" fmla="*/ 0 h 901678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31176"/>
                  <a:gd name="connsiteX1" fmla="*/ 4324832 w 4324832"/>
                  <a:gd name="connsiteY1" fmla="*/ 36871 h 931176"/>
                  <a:gd name="connsiteX2" fmla="*/ 4324832 w 4324832"/>
                  <a:gd name="connsiteY2" fmla="*/ 879556 h 931176"/>
                  <a:gd name="connsiteX3" fmla="*/ 0 w 4324832"/>
                  <a:gd name="connsiteY3" fmla="*/ 931176 h 931176"/>
                  <a:gd name="connsiteX4" fmla="*/ 0 w 4324832"/>
                  <a:gd name="connsiteY4" fmla="*/ 0 h 931176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09052"/>
                  <a:gd name="connsiteX1" fmla="*/ 4324832 w 4324832"/>
                  <a:gd name="connsiteY1" fmla="*/ 29496 h 909052"/>
                  <a:gd name="connsiteX2" fmla="*/ 4324832 w 4324832"/>
                  <a:gd name="connsiteY2" fmla="*/ 872181 h 909052"/>
                  <a:gd name="connsiteX3" fmla="*/ 0 w 4324832"/>
                  <a:gd name="connsiteY3" fmla="*/ 909052 h 909052"/>
                  <a:gd name="connsiteX4" fmla="*/ 0 w 4324832"/>
                  <a:gd name="connsiteY4" fmla="*/ 0 h 90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4832" h="909052">
                    <a:moveTo>
                      <a:pt x="0" y="0"/>
                    </a:moveTo>
                    <a:lnTo>
                      <a:pt x="4324832" y="29496"/>
                    </a:lnTo>
                    <a:lnTo>
                      <a:pt x="4324832" y="872181"/>
                    </a:lnTo>
                    <a:lnTo>
                      <a:pt x="0" y="9090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3" name="Yellow Big Circle">
              <a:extLst>
                <a:ext uri="{FF2B5EF4-FFF2-40B4-BE49-F238E27FC236}">
                  <a16:creationId xmlns:a16="http://schemas.microsoft.com/office/drawing/2014/main" id="{A298C75C-8285-48E6-8BB9-6D1759D4D13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85235" y="1590023"/>
              <a:ext cx="351252" cy="351252"/>
              <a:chOff x="5980364" y="1469777"/>
              <a:chExt cx="291146" cy="291146"/>
            </a:xfrm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8E713230-761A-4CF7-B901-2DB1A606013E}"/>
                  </a:ext>
                </a:extLst>
              </p:cNvPr>
              <p:cNvSpPr/>
              <p:nvPr/>
            </p:nvSpPr>
            <p:spPr>
              <a:xfrm>
                <a:off x="5980364" y="1469777"/>
                <a:ext cx="291146" cy="291146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4890E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D05B963F-050D-418E-8713-B363D9FBABF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5" y="1499488"/>
                <a:ext cx="231725" cy="231725"/>
              </a:xfrm>
              <a:prstGeom prst="ellipse">
                <a:avLst/>
              </a:prstGeom>
              <a:solidFill>
                <a:srgbClr val="4890E4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40" name="Blue P3">
            <a:extLst>
              <a:ext uri="{FF2B5EF4-FFF2-40B4-BE49-F238E27FC236}">
                <a16:creationId xmlns:a16="http://schemas.microsoft.com/office/drawing/2014/main" id="{FA135641-2164-4D3D-B7E3-BD7C6B1535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51261" y="4120130"/>
            <a:ext cx="4307185" cy="5655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ctr" anchorCtr="0">
            <a:spAutoFit/>
          </a:bodyPr>
          <a:lstStyle/>
          <a:p>
            <a:pPr lvl="0">
              <a:lnSpc>
                <a:spcPct val="107000"/>
              </a:lnSpc>
              <a:spcAft>
                <a:spcPts val="800"/>
              </a:spcAft>
              <a:buClrTx/>
            </a:pPr>
            <a:r>
              <a:rPr lang="en-US" sz="1500" kern="1200" dirty="0">
                <a:solidFill>
                  <a:prstClr val="black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oes not allow shutting down of the clusters and is restricted to being directly terminated</a:t>
            </a:r>
          </a:p>
        </p:txBody>
      </p:sp>
      <p:grpSp>
        <p:nvGrpSpPr>
          <p:cNvPr id="41" name="Yellow P3 Patch">
            <a:extLst>
              <a:ext uri="{FF2B5EF4-FFF2-40B4-BE49-F238E27FC236}">
                <a16:creationId xmlns:a16="http://schemas.microsoft.com/office/drawing/2014/main" id="{09F5252C-7672-4695-9A5E-54B099200C64}"/>
              </a:ext>
            </a:extLst>
          </p:cNvPr>
          <p:cNvGrpSpPr/>
          <p:nvPr/>
        </p:nvGrpSpPr>
        <p:grpSpPr>
          <a:xfrm>
            <a:off x="204213" y="3960269"/>
            <a:ext cx="5982191" cy="909052"/>
            <a:chOff x="204213" y="1324259"/>
            <a:chExt cx="5982191" cy="909052"/>
          </a:xfrm>
        </p:grpSpPr>
        <p:sp>
          <p:nvSpPr>
            <p:cNvPr id="42" name="Yellow P1 Line">
              <a:extLst>
                <a:ext uri="{FF2B5EF4-FFF2-40B4-BE49-F238E27FC236}">
                  <a16:creationId xmlns:a16="http://schemas.microsoft.com/office/drawing/2014/main" id="{FF936137-1C76-4B47-B972-92B668D94FE4}"/>
                </a:ext>
              </a:extLst>
            </p:cNvPr>
            <p:cNvSpPr/>
            <p:nvPr/>
          </p:nvSpPr>
          <p:spPr>
            <a:xfrm flipH="1">
              <a:off x="5691654" y="1563105"/>
              <a:ext cx="410322" cy="195170"/>
            </a:xfrm>
            <a:custGeom>
              <a:avLst/>
              <a:gdLst>
                <a:gd name="connsiteX0" fmla="*/ 0 w 523875"/>
                <a:gd name="connsiteY0" fmla="*/ 523875 h 523875"/>
                <a:gd name="connsiteX1" fmla="*/ 0 w 523875"/>
                <a:gd name="connsiteY1" fmla="*/ 0 h 523875"/>
                <a:gd name="connsiteX2" fmla="*/ 523875 w 523875"/>
                <a:gd name="connsiteY2" fmla="*/ 523875 h 523875"/>
                <a:gd name="connsiteX3" fmla="*/ 0 w 523875"/>
                <a:gd name="connsiteY3" fmla="*/ 523875 h 523875"/>
                <a:gd name="connsiteX0" fmla="*/ 523875 w 615315"/>
                <a:gd name="connsiteY0" fmla="*/ 523875 h 615315"/>
                <a:gd name="connsiteX1" fmla="*/ 0 w 615315"/>
                <a:gd name="connsiteY1" fmla="*/ 523875 h 615315"/>
                <a:gd name="connsiteX2" fmla="*/ 0 w 615315"/>
                <a:gd name="connsiteY2" fmla="*/ 0 h 615315"/>
                <a:gd name="connsiteX3" fmla="*/ 615315 w 615315"/>
                <a:gd name="connsiteY3" fmla="*/ 615315 h 615315"/>
                <a:gd name="connsiteX0" fmla="*/ 523875 w 523875"/>
                <a:gd name="connsiteY0" fmla="*/ 523875 h 523875"/>
                <a:gd name="connsiteX1" fmla="*/ 0 w 523875"/>
                <a:gd name="connsiteY1" fmla="*/ 523875 h 523875"/>
                <a:gd name="connsiteX2" fmla="*/ 0 w 523875"/>
                <a:gd name="connsiteY2" fmla="*/ 0 h 523875"/>
                <a:gd name="connsiteX0" fmla="*/ 523875 w 523875"/>
                <a:gd name="connsiteY0" fmla="*/ 523875 h 523875"/>
                <a:gd name="connsiteX1" fmla="*/ 203200 w 523875"/>
                <a:gd name="connsiteY1" fmla="*/ 523875 h 523875"/>
                <a:gd name="connsiteX2" fmla="*/ 0 w 523875"/>
                <a:gd name="connsiteY2" fmla="*/ 0 h 523875"/>
                <a:gd name="connsiteX0" fmla="*/ 410322 w 410322"/>
                <a:gd name="connsiteY0" fmla="*/ 225052 h 225052"/>
                <a:gd name="connsiteX1" fmla="*/ 89647 w 410322"/>
                <a:gd name="connsiteY1" fmla="*/ 225052 h 225052"/>
                <a:gd name="connsiteX2" fmla="*/ 0 w 410322"/>
                <a:gd name="connsiteY2" fmla="*/ 0 h 225052"/>
                <a:gd name="connsiteX0" fmla="*/ 410322 w 410322"/>
                <a:gd name="connsiteY0" fmla="*/ 225052 h 225052"/>
                <a:gd name="connsiteX1" fmla="*/ 197223 w 410322"/>
                <a:gd name="connsiteY1" fmla="*/ 219075 h 225052"/>
                <a:gd name="connsiteX2" fmla="*/ 0 w 410322"/>
                <a:gd name="connsiteY2" fmla="*/ 0 h 225052"/>
                <a:gd name="connsiteX0" fmla="*/ 410322 w 410322"/>
                <a:gd name="connsiteY0" fmla="*/ 195170 h 195170"/>
                <a:gd name="connsiteX1" fmla="*/ 197223 w 410322"/>
                <a:gd name="connsiteY1" fmla="*/ 189193 h 195170"/>
                <a:gd name="connsiteX2" fmla="*/ 0 w 410322"/>
                <a:gd name="connsiteY2" fmla="*/ 0 h 195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0322" h="195170">
                  <a:moveTo>
                    <a:pt x="410322" y="195170"/>
                  </a:moveTo>
                  <a:lnTo>
                    <a:pt x="197223" y="189193"/>
                  </a:lnTo>
                  <a:lnTo>
                    <a:pt x="0" y="0"/>
                  </a:lnTo>
                </a:path>
              </a:pathLst>
            </a:custGeom>
            <a:noFill/>
            <a:ln w="25400">
              <a:solidFill>
                <a:srgbClr val="7671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43" name="Yellow Small Circle">
              <a:extLst>
                <a:ext uri="{FF2B5EF4-FFF2-40B4-BE49-F238E27FC236}">
                  <a16:creationId xmlns:a16="http://schemas.microsoft.com/office/drawing/2014/main" id="{D2D4A47B-AB19-4C4D-8376-897720ED830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011716" y="1469783"/>
              <a:ext cx="174688" cy="174688"/>
              <a:chOff x="5980364" y="1469777"/>
              <a:chExt cx="291146" cy="291146"/>
            </a:xfrm>
          </p:grpSpPr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C80A8327-D901-43C5-8B93-2F800BE7006C}"/>
                  </a:ext>
                </a:extLst>
              </p:cNvPr>
              <p:cNvSpPr/>
              <p:nvPr/>
            </p:nvSpPr>
            <p:spPr>
              <a:xfrm>
                <a:off x="5980364" y="1469777"/>
                <a:ext cx="291146" cy="291146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F4AB3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2E6B639F-BD9E-4476-94D3-76859D562B4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5" y="1499488"/>
                <a:ext cx="231725" cy="231725"/>
              </a:xfrm>
              <a:prstGeom prst="ellipse">
                <a:avLst/>
              </a:prstGeom>
              <a:solidFill>
                <a:srgbClr val="F4AB35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4" name="Yellow Patch">
              <a:extLst>
                <a:ext uri="{FF2B5EF4-FFF2-40B4-BE49-F238E27FC236}">
                  <a16:creationId xmlns:a16="http://schemas.microsoft.com/office/drawing/2014/main" id="{99174CE4-2DCD-4D72-B0F1-8F382D49F5B3}"/>
                </a:ext>
              </a:extLst>
            </p:cNvPr>
            <p:cNvGrpSpPr/>
            <p:nvPr/>
          </p:nvGrpSpPr>
          <p:grpSpPr>
            <a:xfrm>
              <a:off x="204213" y="1324259"/>
              <a:ext cx="5565686" cy="909052"/>
              <a:chOff x="204213" y="1324259"/>
              <a:chExt cx="5565686" cy="909052"/>
            </a:xfrm>
          </p:grpSpPr>
          <p:sp>
            <p:nvSpPr>
              <p:cNvPr id="48" name="Rectangle: Rounded Corners 47">
                <a:extLst>
                  <a:ext uri="{FF2B5EF4-FFF2-40B4-BE49-F238E27FC236}">
                    <a16:creationId xmlns:a16="http://schemas.microsoft.com/office/drawing/2014/main" id="{25465033-75D1-4E8A-B515-7F71210F8AC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43130" y="1331632"/>
                <a:ext cx="5426769" cy="886929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38100">
                <a:solidFill>
                  <a:srgbClr val="F4AB3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" name="Rectangle 29">
                <a:extLst>
                  <a:ext uri="{FF2B5EF4-FFF2-40B4-BE49-F238E27FC236}">
                    <a16:creationId xmlns:a16="http://schemas.microsoft.com/office/drawing/2014/main" id="{F675CA54-CFF3-4C4B-ABB0-C7E143980747}"/>
                  </a:ext>
                </a:extLst>
              </p:cNvPr>
              <p:cNvSpPr/>
              <p:nvPr/>
            </p:nvSpPr>
            <p:spPr>
              <a:xfrm>
                <a:off x="204213" y="1324259"/>
                <a:ext cx="4216872" cy="909052"/>
              </a:xfrm>
              <a:custGeom>
                <a:avLst/>
                <a:gdLst>
                  <a:gd name="connsiteX0" fmla="*/ 0 w 4324832"/>
                  <a:gd name="connsiteY0" fmla="*/ 0 h 886929"/>
                  <a:gd name="connsiteX1" fmla="*/ 4324832 w 4324832"/>
                  <a:gd name="connsiteY1" fmla="*/ 0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22122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901678"/>
                  <a:gd name="connsiteX1" fmla="*/ 4324832 w 4324832"/>
                  <a:gd name="connsiteY1" fmla="*/ 36871 h 901678"/>
                  <a:gd name="connsiteX2" fmla="*/ 4324832 w 4324832"/>
                  <a:gd name="connsiteY2" fmla="*/ 879556 h 901678"/>
                  <a:gd name="connsiteX3" fmla="*/ 0 w 4324832"/>
                  <a:gd name="connsiteY3" fmla="*/ 901678 h 901678"/>
                  <a:gd name="connsiteX4" fmla="*/ 0 w 4324832"/>
                  <a:gd name="connsiteY4" fmla="*/ 0 h 901678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31176"/>
                  <a:gd name="connsiteX1" fmla="*/ 4324832 w 4324832"/>
                  <a:gd name="connsiteY1" fmla="*/ 36871 h 931176"/>
                  <a:gd name="connsiteX2" fmla="*/ 4324832 w 4324832"/>
                  <a:gd name="connsiteY2" fmla="*/ 879556 h 931176"/>
                  <a:gd name="connsiteX3" fmla="*/ 0 w 4324832"/>
                  <a:gd name="connsiteY3" fmla="*/ 931176 h 931176"/>
                  <a:gd name="connsiteX4" fmla="*/ 0 w 4324832"/>
                  <a:gd name="connsiteY4" fmla="*/ 0 h 931176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09052"/>
                  <a:gd name="connsiteX1" fmla="*/ 4324832 w 4324832"/>
                  <a:gd name="connsiteY1" fmla="*/ 29496 h 909052"/>
                  <a:gd name="connsiteX2" fmla="*/ 4324832 w 4324832"/>
                  <a:gd name="connsiteY2" fmla="*/ 872181 h 909052"/>
                  <a:gd name="connsiteX3" fmla="*/ 0 w 4324832"/>
                  <a:gd name="connsiteY3" fmla="*/ 909052 h 909052"/>
                  <a:gd name="connsiteX4" fmla="*/ 0 w 4324832"/>
                  <a:gd name="connsiteY4" fmla="*/ 0 h 90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4832" h="909052">
                    <a:moveTo>
                      <a:pt x="0" y="0"/>
                    </a:moveTo>
                    <a:lnTo>
                      <a:pt x="4324832" y="29496"/>
                    </a:lnTo>
                    <a:lnTo>
                      <a:pt x="4324832" y="872181"/>
                    </a:lnTo>
                    <a:lnTo>
                      <a:pt x="0" y="9090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5" name="Yellow Big Circle">
              <a:extLst>
                <a:ext uri="{FF2B5EF4-FFF2-40B4-BE49-F238E27FC236}">
                  <a16:creationId xmlns:a16="http://schemas.microsoft.com/office/drawing/2014/main" id="{DA80CEE3-B19A-45C4-BA30-D05FE4693DF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85235" y="1590023"/>
              <a:ext cx="351252" cy="351252"/>
              <a:chOff x="5980364" y="1469777"/>
              <a:chExt cx="291146" cy="291146"/>
            </a:xfrm>
          </p:grpSpPr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F7FB199D-F52E-426C-B923-6942681DAA2D}"/>
                  </a:ext>
                </a:extLst>
              </p:cNvPr>
              <p:cNvSpPr/>
              <p:nvPr/>
            </p:nvSpPr>
            <p:spPr>
              <a:xfrm>
                <a:off x="5980364" y="1469777"/>
                <a:ext cx="291146" cy="291146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F4AB3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7336B3ED-FB10-4926-BA12-659DC1276C1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5" y="1499488"/>
                <a:ext cx="231725" cy="231725"/>
              </a:xfrm>
              <a:prstGeom prst="ellipse">
                <a:avLst/>
              </a:prstGeom>
              <a:solidFill>
                <a:srgbClr val="F4AB35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52" name="Yellow P3">
            <a:extLst>
              <a:ext uri="{FF2B5EF4-FFF2-40B4-BE49-F238E27FC236}">
                <a16:creationId xmlns:a16="http://schemas.microsoft.com/office/drawing/2014/main" id="{B36EAA5D-0230-41A4-9D67-25ACA7A12D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8032" y="4120130"/>
            <a:ext cx="4307185" cy="5655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ctr" anchorCtr="0">
            <a:spAutoFit/>
          </a:bodyPr>
          <a:lstStyle/>
          <a:p>
            <a:pPr lvl="0" algn="r">
              <a:lnSpc>
                <a:spcPct val="107000"/>
              </a:lnSpc>
              <a:spcAft>
                <a:spcPts val="800"/>
              </a:spcAft>
              <a:buClrTx/>
            </a:pPr>
            <a:r>
              <a:rPr lang="en-US" sz="1500" kern="1200" dirty="0">
                <a:solidFill>
                  <a:prstClr val="black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nables direct access to data on S3 from or through Hive tables</a:t>
            </a:r>
          </a:p>
        </p:txBody>
      </p:sp>
      <p:grpSp>
        <p:nvGrpSpPr>
          <p:cNvPr id="5" name="Blue P2 Patch">
            <a:extLst>
              <a:ext uri="{FF2B5EF4-FFF2-40B4-BE49-F238E27FC236}">
                <a16:creationId xmlns:a16="http://schemas.microsoft.com/office/drawing/2014/main" id="{E47DAC2F-851A-4744-B1FF-7F1A1D0DD71A}"/>
              </a:ext>
            </a:extLst>
          </p:cNvPr>
          <p:cNvGrpSpPr/>
          <p:nvPr/>
        </p:nvGrpSpPr>
        <p:grpSpPr>
          <a:xfrm flipH="1">
            <a:off x="6011174" y="2758270"/>
            <a:ext cx="6085088" cy="909052"/>
            <a:chOff x="101316" y="1324259"/>
            <a:chExt cx="6085088" cy="909052"/>
          </a:xfrm>
        </p:grpSpPr>
        <p:sp>
          <p:nvSpPr>
            <p:cNvPr id="6" name="Yellow P1 Line">
              <a:extLst>
                <a:ext uri="{FF2B5EF4-FFF2-40B4-BE49-F238E27FC236}">
                  <a16:creationId xmlns:a16="http://schemas.microsoft.com/office/drawing/2014/main" id="{EA906060-414D-441C-8A25-BF44FC98F521}"/>
                </a:ext>
              </a:extLst>
            </p:cNvPr>
            <p:cNvSpPr/>
            <p:nvPr/>
          </p:nvSpPr>
          <p:spPr>
            <a:xfrm flipH="1">
              <a:off x="5691654" y="1752299"/>
              <a:ext cx="405297" cy="142402"/>
            </a:xfrm>
            <a:custGeom>
              <a:avLst/>
              <a:gdLst>
                <a:gd name="connsiteX0" fmla="*/ 0 w 523875"/>
                <a:gd name="connsiteY0" fmla="*/ 523875 h 523875"/>
                <a:gd name="connsiteX1" fmla="*/ 0 w 523875"/>
                <a:gd name="connsiteY1" fmla="*/ 0 h 523875"/>
                <a:gd name="connsiteX2" fmla="*/ 523875 w 523875"/>
                <a:gd name="connsiteY2" fmla="*/ 523875 h 523875"/>
                <a:gd name="connsiteX3" fmla="*/ 0 w 523875"/>
                <a:gd name="connsiteY3" fmla="*/ 523875 h 523875"/>
                <a:gd name="connsiteX0" fmla="*/ 523875 w 615315"/>
                <a:gd name="connsiteY0" fmla="*/ 523875 h 615315"/>
                <a:gd name="connsiteX1" fmla="*/ 0 w 615315"/>
                <a:gd name="connsiteY1" fmla="*/ 523875 h 615315"/>
                <a:gd name="connsiteX2" fmla="*/ 0 w 615315"/>
                <a:gd name="connsiteY2" fmla="*/ 0 h 615315"/>
                <a:gd name="connsiteX3" fmla="*/ 615315 w 615315"/>
                <a:gd name="connsiteY3" fmla="*/ 615315 h 615315"/>
                <a:gd name="connsiteX0" fmla="*/ 523875 w 523875"/>
                <a:gd name="connsiteY0" fmla="*/ 523875 h 523875"/>
                <a:gd name="connsiteX1" fmla="*/ 0 w 523875"/>
                <a:gd name="connsiteY1" fmla="*/ 523875 h 523875"/>
                <a:gd name="connsiteX2" fmla="*/ 0 w 523875"/>
                <a:gd name="connsiteY2" fmla="*/ 0 h 523875"/>
                <a:gd name="connsiteX0" fmla="*/ 523875 w 523875"/>
                <a:gd name="connsiteY0" fmla="*/ 523875 h 523875"/>
                <a:gd name="connsiteX1" fmla="*/ 203200 w 523875"/>
                <a:gd name="connsiteY1" fmla="*/ 523875 h 523875"/>
                <a:gd name="connsiteX2" fmla="*/ 0 w 523875"/>
                <a:gd name="connsiteY2" fmla="*/ 0 h 523875"/>
                <a:gd name="connsiteX0" fmla="*/ 410322 w 410322"/>
                <a:gd name="connsiteY0" fmla="*/ 225052 h 225052"/>
                <a:gd name="connsiteX1" fmla="*/ 89647 w 410322"/>
                <a:gd name="connsiteY1" fmla="*/ 225052 h 225052"/>
                <a:gd name="connsiteX2" fmla="*/ 0 w 410322"/>
                <a:gd name="connsiteY2" fmla="*/ 0 h 225052"/>
                <a:gd name="connsiteX0" fmla="*/ 410322 w 410322"/>
                <a:gd name="connsiteY0" fmla="*/ 225052 h 225052"/>
                <a:gd name="connsiteX1" fmla="*/ 197223 w 410322"/>
                <a:gd name="connsiteY1" fmla="*/ 219075 h 225052"/>
                <a:gd name="connsiteX2" fmla="*/ 0 w 410322"/>
                <a:gd name="connsiteY2" fmla="*/ 0 h 225052"/>
                <a:gd name="connsiteX0" fmla="*/ 410322 w 410322"/>
                <a:gd name="connsiteY0" fmla="*/ 195170 h 195170"/>
                <a:gd name="connsiteX1" fmla="*/ 197223 w 410322"/>
                <a:gd name="connsiteY1" fmla="*/ 189193 h 195170"/>
                <a:gd name="connsiteX2" fmla="*/ 0 w 410322"/>
                <a:gd name="connsiteY2" fmla="*/ 0 h 195170"/>
                <a:gd name="connsiteX0" fmla="*/ 405297 w 405297"/>
                <a:gd name="connsiteY0" fmla="*/ 5977 h 142402"/>
                <a:gd name="connsiteX1" fmla="*/ 192198 w 405297"/>
                <a:gd name="connsiteY1" fmla="*/ 0 h 142402"/>
                <a:gd name="connsiteX2" fmla="*/ 0 w 405297"/>
                <a:gd name="connsiteY2" fmla="*/ 142402 h 142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5297" h="142402">
                  <a:moveTo>
                    <a:pt x="405297" y="5977"/>
                  </a:moveTo>
                  <a:lnTo>
                    <a:pt x="192198" y="0"/>
                  </a:lnTo>
                  <a:lnTo>
                    <a:pt x="0" y="142402"/>
                  </a:lnTo>
                </a:path>
              </a:pathLst>
            </a:custGeom>
            <a:noFill/>
            <a:ln w="25400">
              <a:solidFill>
                <a:srgbClr val="7671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7" name="Yellow Small Circle">
              <a:extLst>
                <a:ext uri="{FF2B5EF4-FFF2-40B4-BE49-F238E27FC236}">
                  <a16:creationId xmlns:a16="http://schemas.microsoft.com/office/drawing/2014/main" id="{F13ABA6F-76E9-4CAC-A3FC-46BB9F0B2B1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011716" y="1794246"/>
              <a:ext cx="174688" cy="174688"/>
              <a:chOff x="5980364" y="2010546"/>
              <a:chExt cx="291146" cy="291145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BD8D8FCC-3283-47BA-B83B-88DA8B25FD2B}"/>
                  </a:ext>
                </a:extLst>
              </p:cNvPr>
              <p:cNvSpPr/>
              <p:nvPr/>
            </p:nvSpPr>
            <p:spPr>
              <a:xfrm>
                <a:off x="5980364" y="2010546"/>
                <a:ext cx="291146" cy="291145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4890E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6391E26B-3757-4C92-8A9E-4507262DC07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6" y="2040252"/>
                <a:ext cx="231724" cy="231724"/>
              </a:xfrm>
              <a:prstGeom prst="ellipse">
                <a:avLst/>
              </a:prstGeom>
              <a:solidFill>
                <a:srgbClr val="4890E4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Yellow Patch">
              <a:extLst>
                <a:ext uri="{FF2B5EF4-FFF2-40B4-BE49-F238E27FC236}">
                  <a16:creationId xmlns:a16="http://schemas.microsoft.com/office/drawing/2014/main" id="{0A3CF0A0-8220-46B5-AE6F-2938FA7AAC01}"/>
                </a:ext>
              </a:extLst>
            </p:cNvPr>
            <p:cNvGrpSpPr/>
            <p:nvPr/>
          </p:nvGrpSpPr>
          <p:grpSpPr>
            <a:xfrm>
              <a:off x="101316" y="1324259"/>
              <a:ext cx="5668583" cy="909052"/>
              <a:chOff x="101316" y="1324259"/>
              <a:chExt cx="5668583" cy="909052"/>
            </a:xfrm>
          </p:grpSpPr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id="{7FD96285-AAAA-4AA4-BB8A-16855EB3A84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43130" y="1331632"/>
                <a:ext cx="5426769" cy="886929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38100">
                <a:solidFill>
                  <a:srgbClr val="4890E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Rectangle 29">
                <a:extLst>
                  <a:ext uri="{FF2B5EF4-FFF2-40B4-BE49-F238E27FC236}">
                    <a16:creationId xmlns:a16="http://schemas.microsoft.com/office/drawing/2014/main" id="{00EBA612-F1E7-495D-8110-FE6ACCC8C53D}"/>
                  </a:ext>
                </a:extLst>
              </p:cNvPr>
              <p:cNvSpPr/>
              <p:nvPr/>
            </p:nvSpPr>
            <p:spPr>
              <a:xfrm>
                <a:off x="101316" y="1324259"/>
                <a:ext cx="4319769" cy="909052"/>
              </a:xfrm>
              <a:custGeom>
                <a:avLst/>
                <a:gdLst>
                  <a:gd name="connsiteX0" fmla="*/ 0 w 4324832"/>
                  <a:gd name="connsiteY0" fmla="*/ 0 h 886929"/>
                  <a:gd name="connsiteX1" fmla="*/ 4324832 w 4324832"/>
                  <a:gd name="connsiteY1" fmla="*/ 0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22122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901678"/>
                  <a:gd name="connsiteX1" fmla="*/ 4324832 w 4324832"/>
                  <a:gd name="connsiteY1" fmla="*/ 36871 h 901678"/>
                  <a:gd name="connsiteX2" fmla="*/ 4324832 w 4324832"/>
                  <a:gd name="connsiteY2" fmla="*/ 879556 h 901678"/>
                  <a:gd name="connsiteX3" fmla="*/ 0 w 4324832"/>
                  <a:gd name="connsiteY3" fmla="*/ 901678 h 901678"/>
                  <a:gd name="connsiteX4" fmla="*/ 0 w 4324832"/>
                  <a:gd name="connsiteY4" fmla="*/ 0 h 901678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31176"/>
                  <a:gd name="connsiteX1" fmla="*/ 4324832 w 4324832"/>
                  <a:gd name="connsiteY1" fmla="*/ 36871 h 931176"/>
                  <a:gd name="connsiteX2" fmla="*/ 4324832 w 4324832"/>
                  <a:gd name="connsiteY2" fmla="*/ 879556 h 931176"/>
                  <a:gd name="connsiteX3" fmla="*/ 0 w 4324832"/>
                  <a:gd name="connsiteY3" fmla="*/ 931176 h 931176"/>
                  <a:gd name="connsiteX4" fmla="*/ 0 w 4324832"/>
                  <a:gd name="connsiteY4" fmla="*/ 0 h 931176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09052"/>
                  <a:gd name="connsiteX1" fmla="*/ 4324832 w 4324832"/>
                  <a:gd name="connsiteY1" fmla="*/ 29496 h 909052"/>
                  <a:gd name="connsiteX2" fmla="*/ 4324832 w 4324832"/>
                  <a:gd name="connsiteY2" fmla="*/ 872181 h 909052"/>
                  <a:gd name="connsiteX3" fmla="*/ 0 w 4324832"/>
                  <a:gd name="connsiteY3" fmla="*/ 909052 h 909052"/>
                  <a:gd name="connsiteX4" fmla="*/ 0 w 4324832"/>
                  <a:gd name="connsiteY4" fmla="*/ 0 h 90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4832" h="909052">
                    <a:moveTo>
                      <a:pt x="0" y="0"/>
                    </a:moveTo>
                    <a:lnTo>
                      <a:pt x="4324832" y="29496"/>
                    </a:lnTo>
                    <a:lnTo>
                      <a:pt x="4324832" y="872181"/>
                    </a:lnTo>
                    <a:lnTo>
                      <a:pt x="0" y="9090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9" name="Yellow Big Circle">
              <a:extLst>
                <a:ext uri="{FF2B5EF4-FFF2-40B4-BE49-F238E27FC236}">
                  <a16:creationId xmlns:a16="http://schemas.microsoft.com/office/drawing/2014/main" id="{2E974565-1027-4F18-B146-6F3A27BA8E9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85235" y="1590023"/>
              <a:ext cx="351252" cy="351252"/>
              <a:chOff x="5980364" y="1469777"/>
              <a:chExt cx="291146" cy="291146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44DCAB56-20C5-4FED-B21A-F6E990F91C9C}"/>
                  </a:ext>
                </a:extLst>
              </p:cNvPr>
              <p:cNvSpPr/>
              <p:nvPr/>
            </p:nvSpPr>
            <p:spPr>
              <a:xfrm>
                <a:off x="5980364" y="1469777"/>
                <a:ext cx="291146" cy="291146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4890E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5B4B37A-564C-412B-8E2E-4C3C8097071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5" y="1499488"/>
                <a:ext cx="231725" cy="231725"/>
              </a:xfrm>
              <a:prstGeom prst="ellipse">
                <a:avLst/>
              </a:prstGeom>
              <a:solidFill>
                <a:srgbClr val="4890E4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" name="Blue P2">
            <a:extLst>
              <a:ext uri="{FF2B5EF4-FFF2-40B4-BE49-F238E27FC236}">
                <a16:creationId xmlns:a16="http://schemas.microsoft.com/office/drawing/2014/main" id="{B2554E1F-17E9-465A-9176-A0C1CC8A02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51261" y="2790756"/>
            <a:ext cx="4307185" cy="820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ctr" anchorCtr="0">
            <a:spAutoFit/>
          </a:bodyPr>
          <a:lstStyle/>
          <a:p>
            <a:pPr lvl="0">
              <a:lnSpc>
                <a:spcPct val="107000"/>
              </a:lnSpc>
              <a:spcAft>
                <a:spcPts val="800"/>
              </a:spcAft>
              <a:buClrTx/>
            </a:pPr>
            <a:r>
              <a:rPr lang="en-US" sz="1500" kern="1200" dirty="0">
                <a:solidFill>
                  <a:prstClr val="black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oes not ensure high availability of the cluster’s master node, which makes it a single point of failure</a:t>
            </a:r>
          </a:p>
        </p:txBody>
      </p:sp>
      <p:grpSp>
        <p:nvGrpSpPr>
          <p:cNvPr id="17" name="Yellow P2 Patch">
            <a:extLst>
              <a:ext uri="{FF2B5EF4-FFF2-40B4-BE49-F238E27FC236}">
                <a16:creationId xmlns:a16="http://schemas.microsoft.com/office/drawing/2014/main" id="{298A565D-C9CC-4197-A5A3-3BC340CB4396}"/>
              </a:ext>
            </a:extLst>
          </p:cNvPr>
          <p:cNvGrpSpPr/>
          <p:nvPr/>
        </p:nvGrpSpPr>
        <p:grpSpPr>
          <a:xfrm>
            <a:off x="204213" y="2758270"/>
            <a:ext cx="5982191" cy="909052"/>
            <a:chOff x="204213" y="1324259"/>
            <a:chExt cx="5982191" cy="909052"/>
          </a:xfrm>
        </p:grpSpPr>
        <p:sp>
          <p:nvSpPr>
            <p:cNvPr id="18" name="Yellow P1 Line">
              <a:extLst>
                <a:ext uri="{FF2B5EF4-FFF2-40B4-BE49-F238E27FC236}">
                  <a16:creationId xmlns:a16="http://schemas.microsoft.com/office/drawing/2014/main" id="{6828F3FA-020E-49BC-8762-67BA3809A7B7}"/>
                </a:ext>
              </a:extLst>
            </p:cNvPr>
            <p:cNvSpPr/>
            <p:nvPr/>
          </p:nvSpPr>
          <p:spPr>
            <a:xfrm flipH="1">
              <a:off x="5691654" y="1563105"/>
              <a:ext cx="410322" cy="195170"/>
            </a:xfrm>
            <a:custGeom>
              <a:avLst/>
              <a:gdLst>
                <a:gd name="connsiteX0" fmla="*/ 0 w 523875"/>
                <a:gd name="connsiteY0" fmla="*/ 523875 h 523875"/>
                <a:gd name="connsiteX1" fmla="*/ 0 w 523875"/>
                <a:gd name="connsiteY1" fmla="*/ 0 h 523875"/>
                <a:gd name="connsiteX2" fmla="*/ 523875 w 523875"/>
                <a:gd name="connsiteY2" fmla="*/ 523875 h 523875"/>
                <a:gd name="connsiteX3" fmla="*/ 0 w 523875"/>
                <a:gd name="connsiteY3" fmla="*/ 523875 h 523875"/>
                <a:gd name="connsiteX0" fmla="*/ 523875 w 615315"/>
                <a:gd name="connsiteY0" fmla="*/ 523875 h 615315"/>
                <a:gd name="connsiteX1" fmla="*/ 0 w 615315"/>
                <a:gd name="connsiteY1" fmla="*/ 523875 h 615315"/>
                <a:gd name="connsiteX2" fmla="*/ 0 w 615315"/>
                <a:gd name="connsiteY2" fmla="*/ 0 h 615315"/>
                <a:gd name="connsiteX3" fmla="*/ 615315 w 615315"/>
                <a:gd name="connsiteY3" fmla="*/ 615315 h 615315"/>
                <a:gd name="connsiteX0" fmla="*/ 523875 w 523875"/>
                <a:gd name="connsiteY0" fmla="*/ 523875 h 523875"/>
                <a:gd name="connsiteX1" fmla="*/ 0 w 523875"/>
                <a:gd name="connsiteY1" fmla="*/ 523875 h 523875"/>
                <a:gd name="connsiteX2" fmla="*/ 0 w 523875"/>
                <a:gd name="connsiteY2" fmla="*/ 0 h 523875"/>
                <a:gd name="connsiteX0" fmla="*/ 523875 w 523875"/>
                <a:gd name="connsiteY0" fmla="*/ 523875 h 523875"/>
                <a:gd name="connsiteX1" fmla="*/ 203200 w 523875"/>
                <a:gd name="connsiteY1" fmla="*/ 523875 h 523875"/>
                <a:gd name="connsiteX2" fmla="*/ 0 w 523875"/>
                <a:gd name="connsiteY2" fmla="*/ 0 h 523875"/>
                <a:gd name="connsiteX0" fmla="*/ 410322 w 410322"/>
                <a:gd name="connsiteY0" fmla="*/ 225052 h 225052"/>
                <a:gd name="connsiteX1" fmla="*/ 89647 w 410322"/>
                <a:gd name="connsiteY1" fmla="*/ 225052 h 225052"/>
                <a:gd name="connsiteX2" fmla="*/ 0 w 410322"/>
                <a:gd name="connsiteY2" fmla="*/ 0 h 225052"/>
                <a:gd name="connsiteX0" fmla="*/ 410322 w 410322"/>
                <a:gd name="connsiteY0" fmla="*/ 225052 h 225052"/>
                <a:gd name="connsiteX1" fmla="*/ 197223 w 410322"/>
                <a:gd name="connsiteY1" fmla="*/ 219075 h 225052"/>
                <a:gd name="connsiteX2" fmla="*/ 0 w 410322"/>
                <a:gd name="connsiteY2" fmla="*/ 0 h 225052"/>
                <a:gd name="connsiteX0" fmla="*/ 410322 w 410322"/>
                <a:gd name="connsiteY0" fmla="*/ 195170 h 195170"/>
                <a:gd name="connsiteX1" fmla="*/ 197223 w 410322"/>
                <a:gd name="connsiteY1" fmla="*/ 189193 h 195170"/>
                <a:gd name="connsiteX2" fmla="*/ 0 w 410322"/>
                <a:gd name="connsiteY2" fmla="*/ 0 h 195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0322" h="195170">
                  <a:moveTo>
                    <a:pt x="410322" y="195170"/>
                  </a:moveTo>
                  <a:lnTo>
                    <a:pt x="197223" y="189193"/>
                  </a:lnTo>
                  <a:lnTo>
                    <a:pt x="0" y="0"/>
                  </a:lnTo>
                </a:path>
              </a:pathLst>
            </a:custGeom>
            <a:noFill/>
            <a:ln w="25400">
              <a:solidFill>
                <a:srgbClr val="7671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9" name="Yellow Small Circle">
              <a:extLst>
                <a:ext uri="{FF2B5EF4-FFF2-40B4-BE49-F238E27FC236}">
                  <a16:creationId xmlns:a16="http://schemas.microsoft.com/office/drawing/2014/main" id="{F58521C0-726D-4C42-8FA4-DB48DBFE64F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011716" y="1469783"/>
              <a:ext cx="174688" cy="174688"/>
              <a:chOff x="5980364" y="1469777"/>
              <a:chExt cx="291146" cy="291146"/>
            </a:xfrm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5A770857-A677-4086-922C-EEBE35699CF7}"/>
                  </a:ext>
                </a:extLst>
              </p:cNvPr>
              <p:cNvSpPr/>
              <p:nvPr/>
            </p:nvSpPr>
            <p:spPr>
              <a:xfrm>
                <a:off x="5980364" y="1469777"/>
                <a:ext cx="291146" cy="291146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F4AB3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6314757B-7F99-4F4E-8F91-3D70B42739C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5" y="1499488"/>
                <a:ext cx="231725" cy="231725"/>
              </a:xfrm>
              <a:prstGeom prst="ellipse">
                <a:avLst/>
              </a:prstGeom>
              <a:solidFill>
                <a:srgbClr val="F4AB35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Yellow Patch">
              <a:extLst>
                <a:ext uri="{FF2B5EF4-FFF2-40B4-BE49-F238E27FC236}">
                  <a16:creationId xmlns:a16="http://schemas.microsoft.com/office/drawing/2014/main" id="{D22CBB71-8D73-4DD6-9EAD-31C8914767F4}"/>
                </a:ext>
              </a:extLst>
            </p:cNvPr>
            <p:cNvGrpSpPr/>
            <p:nvPr/>
          </p:nvGrpSpPr>
          <p:grpSpPr>
            <a:xfrm>
              <a:off x="204213" y="1324259"/>
              <a:ext cx="5565686" cy="909052"/>
              <a:chOff x="204213" y="1324259"/>
              <a:chExt cx="5565686" cy="909052"/>
            </a:xfrm>
          </p:grpSpPr>
          <p:sp>
            <p:nvSpPr>
              <p:cNvPr id="24" name="Rectangle: Rounded Corners 23">
                <a:extLst>
                  <a:ext uri="{FF2B5EF4-FFF2-40B4-BE49-F238E27FC236}">
                    <a16:creationId xmlns:a16="http://schemas.microsoft.com/office/drawing/2014/main" id="{AD001DC0-B41C-4AEC-BA53-7E90AF3680E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43130" y="1331632"/>
                <a:ext cx="5426769" cy="886929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38100">
                <a:solidFill>
                  <a:srgbClr val="F4AB3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" name="Rectangle 29">
                <a:extLst>
                  <a:ext uri="{FF2B5EF4-FFF2-40B4-BE49-F238E27FC236}">
                    <a16:creationId xmlns:a16="http://schemas.microsoft.com/office/drawing/2014/main" id="{CA456864-FC84-4839-B820-33EE67FEFBA6}"/>
                  </a:ext>
                </a:extLst>
              </p:cNvPr>
              <p:cNvSpPr/>
              <p:nvPr/>
            </p:nvSpPr>
            <p:spPr>
              <a:xfrm>
                <a:off x="204213" y="1324259"/>
                <a:ext cx="4216872" cy="909052"/>
              </a:xfrm>
              <a:custGeom>
                <a:avLst/>
                <a:gdLst>
                  <a:gd name="connsiteX0" fmla="*/ 0 w 4324832"/>
                  <a:gd name="connsiteY0" fmla="*/ 0 h 886929"/>
                  <a:gd name="connsiteX1" fmla="*/ 4324832 w 4324832"/>
                  <a:gd name="connsiteY1" fmla="*/ 0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22122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901678"/>
                  <a:gd name="connsiteX1" fmla="*/ 4324832 w 4324832"/>
                  <a:gd name="connsiteY1" fmla="*/ 36871 h 901678"/>
                  <a:gd name="connsiteX2" fmla="*/ 4324832 w 4324832"/>
                  <a:gd name="connsiteY2" fmla="*/ 879556 h 901678"/>
                  <a:gd name="connsiteX3" fmla="*/ 0 w 4324832"/>
                  <a:gd name="connsiteY3" fmla="*/ 901678 h 901678"/>
                  <a:gd name="connsiteX4" fmla="*/ 0 w 4324832"/>
                  <a:gd name="connsiteY4" fmla="*/ 0 h 901678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31176"/>
                  <a:gd name="connsiteX1" fmla="*/ 4324832 w 4324832"/>
                  <a:gd name="connsiteY1" fmla="*/ 36871 h 931176"/>
                  <a:gd name="connsiteX2" fmla="*/ 4324832 w 4324832"/>
                  <a:gd name="connsiteY2" fmla="*/ 879556 h 931176"/>
                  <a:gd name="connsiteX3" fmla="*/ 0 w 4324832"/>
                  <a:gd name="connsiteY3" fmla="*/ 931176 h 931176"/>
                  <a:gd name="connsiteX4" fmla="*/ 0 w 4324832"/>
                  <a:gd name="connsiteY4" fmla="*/ 0 h 931176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09052"/>
                  <a:gd name="connsiteX1" fmla="*/ 4324832 w 4324832"/>
                  <a:gd name="connsiteY1" fmla="*/ 29496 h 909052"/>
                  <a:gd name="connsiteX2" fmla="*/ 4324832 w 4324832"/>
                  <a:gd name="connsiteY2" fmla="*/ 872181 h 909052"/>
                  <a:gd name="connsiteX3" fmla="*/ 0 w 4324832"/>
                  <a:gd name="connsiteY3" fmla="*/ 909052 h 909052"/>
                  <a:gd name="connsiteX4" fmla="*/ 0 w 4324832"/>
                  <a:gd name="connsiteY4" fmla="*/ 0 h 90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4832" h="909052">
                    <a:moveTo>
                      <a:pt x="0" y="0"/>
                    </a:moveTo>
                    <a:lnTo>
                      <a:pt x="4324832" y="29496"/>
                    </a:lnTo>
                    <a:lnTo>
                      <a:pt x="4324832" y="872181"/>
                    </a:lnTo>
                    <a:lnTo>
                      <a:pt x="0" y="9090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Yellow Big Circle">
              <a:extLst>
                <a:ext uri="{FF2B5EF4-FFF2-40B4-BE49-F238E27FC236}">
                  <a16:creationId xmlns:a16="http://schemas.microsoft.com/office/drawing/2014/main" id="{1DD9E5FF-C3A4-4123-87C3-E5F1E84E122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85235" y="1590023"/>
              <a:ext cx="351252" cy="351252"/>
              <a:chOff x="5980364" y="1469777"/>
              <a:chExt cx="291146" cy="291146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3029717C-3A40-4A85-B313-F7A846DB3A7E}"/>
                  </a:ext>
                </a:extLst>
              </p:cNvPr>
              <p:cNvSpPr/>
              <p:nvPr/>
            </p:nvSpPr>
            <p:spPr>
              <a:xfrm>
                <a:off x="5980364" y="1469777"/>
                <a:ext cx="291146" cy="291146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F4AB3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418A4027-C273-4737-8D66-95343340DEA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5" y="1499488"/>
                <a:ext cx="231725" cy="231725"/>
              </a:xfrm>
              <a:prstGeom prst="ellipse">
                <a:avLst/>
              </a:prstGeom>
              <a:solidFill>
                <a:srgbClr val="F4AB35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28" name="Yellow P2">
            <a:extLst>
              <a:ext uri="{FF2B5EF4-FFF2-40B4-BE49-F238E27FC236}">
                <a16:creationId xmlns:a16="http://schemas.microsoft.com/office/drawing/2014/main" id="{FF2A818F-250C-4BB5-A84F-6987E2DA99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8032" y="2790756"/>
            <a:ext cx="4307185" cy="820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ctr" anchorCtr="0">
            <a:spAutoFit/>
          </a:bodyPr>
          <a:lstStyle/>
          <a:p>
            <a:pPr lvl="0" algn="r">
              <a:lnSpc>
                <a:spcPct val="107000"/>
              </a:lnSpc>
              <a:spcAft>
                <a:spcPts val="800"/>
              </a:spcAft>
              <a:buClrTx/>
            </a:pPr>
            <a:r>
              <a:rPr lang="en-US" sz="1500" kern="1200" dirty="0">
                <a:solidFill>
                  <a:prstClr val="black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nables dynamic orchestration of a new cluster on-demand and easy termination once the work is done to optimise costs</a:t>
            </a:r>
          </a:p>
        </p:txBody>
      </p:sp>
      <p:grpSp>
        <p:nvGrpSpPr>
          <p:cNvPr id="77" name="Blue P1 Patch">
            <a:extLst>
              <a:ext uri="{FF2B5EF4-FFF2-40B4-BE49-F238E27FC236}">
                <a16:creationId xmlns:a16="http://schemas.microsoft.com/office/drawing/2014/main" id="{6C806D8A-5F69-4969-977A-3FBE8B7F34D0}"/>
              </a:ext>
            </a:extLst>
          </p:cNvPr>
          <p:cNvGrpSpPr/>
          <p:nvPr/>
        </p:nvGrpSpPr>
        <p:grpSpPr>
          <a:xfrm flipH="1">
            <a:off x="6011174" y="1556271"/>
            <a:ext cx="6085088" cy="909052"/>
            <a:chOff x="101316" y="1324259"/>
            <a:chExt cx="6085088" cy="909052"/>
          </a:xfrm>
        </p:grpSpPr>
        <p:sp>
          <p:nvSpPr>
            <p:cNvPr id="78" name="Yellow P1 Line">
              <a:extLst>
                <a:ext uri="{FF2B5EF4-FFF2-40B4-BE49-F238E27FC236}">
                  <a16:creationId xmlns:a16="http://schemas.microsoft.com/office/drawing/2014/main" id="{35A46B0B-D1D2-421F-A0C6-24602D7274E0}"/>
                </a:ext>
              </a:extLst>
            </p:cNvPr>
            <p:cNvSpPr/>
            <p:nvPr/>
          </p:nvSpPr>
          <p:spPr>
            <a:xfrm flipH="1">
              <a:off x="5691654" y="1752299"/>
              <a:ext cx="405297" cy="142402"/>
            </a:xfrm>
            <a:custGeom>
              <a:avLst/>
              <a:gdLst>
                <a:gd name="connsiteX0" fmla="*/ 0 w 523875"/>
                <a:gd name="connsiteY0" fmla="*/ 523875 h 523875"/>
                <a:gd name="connsiteX1" fmla="*/ 0 w 523875"/>
                <a:gd name="connsiteY1" fmla="*/ 0 h 523875"/>
                <a:gd name="connsiteX2" fmla="*/ 523875 w 523875"/>
                <a:gd name="connsiteY2" fmla="*/ 523875 h 523875"/>
                <a:gd name="connsiteX3" fmla="*/ 0 w 523875"/>
                <a:gd name="connsiteY3" fmla="*/ 523875 h 523875"/>
                <a:gd name="connsiteX0" fmla="*/ 523875 w 615315"/>
                <a:gd name="connsiteY0" fmla="*/ 523875 h 615315"/>
                <a:gd name="connsiteX1" fmla="*/ 0 w 615315"/>
                <a:gd name="connsiteY1" fmla="*/ 523875 h 615315"/>
                <a:gd name="connsiteX2" fmla="*/ 0 w 615315"/>
                <a:gd name="connsiteY2" fmla="*/ 0 h 615315"/>
                <a:gd name="connsiteX3" fmla="*/ 615315 w 615315"/>
                <a:gd name="connsiteY3" fmla="*/ 615315 h 615315"/>
                <a:gd name="connsiteX0" fmla="*/ 523875 w 523875"/>
                <a:gd name="connsiteY0" fmla="*/ 523875 h 523875"/>
                <a:gd name="connsiteX1" fmla="*/ 0 w 523875"/>
                <a:gd name="connsiteY1" fmla="*/ 523875 h 523875"/>
                <a:gd name="connsiteX2" fmla="*/ 0 w 523875"/>
                <a:gd name="connsiteY2" fmla="*/ 0 h 523875"/>
                <a:gd name="connsiteX0" fmla="*/ 523875 w 523875"/>
                <a:gd name="connsiteY0" fmla="*/ 523875 h 523875"/>
                <a:gd name="connsiteX1" fmla="*/ 203200 w 523875"/>
                <a:gd name="connsiteY1" fmla="*/ 523875 h 523875"/>
                <a:gd name="connsiteX2" fmla="*/ 0 w 523875"/>
                <a:gd name="connsiteY2" fmla="*/ 0 h 523875"/>
                <a:gd name="connsiteX0" fmla="*/ 410322 w 410322"/>
                <a:gd name="connsiteY0" fmla="*/ 225052 h 225052"/>
                <a:gd name="connsiteX1" fmla="*/ 89647 w 410322"/>
                <a:gd name="connsiteY1" fmla="*/ 225052 h 225052"/>
                <a:gd name="connsiteX2" fmla="*/ 0 w 410322"/>
                <a:gd name="connsiteY2" fmla="*/ 0 h 225052"/>
                <a:gd name="connsiteX0" fmla="*/ 410322 w 410322"/>
                <a:gd name="connsiteY0" fmla="*/ 225052 h 225052"/>
                <a:gd name="connsiteX1" fmla="*/ 197223 w 410322"/>
                <a:gd name="connsiteY1" fmla="*/ 219075 h 225052"/>
                <a:gd name="connsiteX2" fmla="*/ 0 w 410322"/>
                <a:gd name="connsiteY2" fmla="*/ 0 h 225052"/>
                <a:gd name="connsiteX0" fmla="*/ 410322 w 410322"/>
                <a:gd name="connsiteY0" fmla="*/ 195170 h 195170"/>
                <a:gd name="connsiteX1" fmla="*/ 197223 w 410322"/>
                <a:gd name="connsiteY1" fmla="*/ 189193 h 195170"/>
                <a:gd name="connsiteX2" fmla="*/ 0 w 410322"/>
                <a:gd name="connsiteY2" fmla="*/ 0 h 195170"/>
                <a:gd name="connsiteX0" fmla="*/ 405297 w 405297"/>
                <a:gd name="connsiteY0" fmla="*/ 5977 h 142402"/>
                <a:gd name="connsiteX1" fmla="*/ 192198 w 405297"/>
                <a:gd name="connsiteY1" fmla="*/ 0 h 142402"/>
                <a:gd name="connsiteX2" fmla="*/ 0 w 405297"/>
                <a:gd name="connsiteY2" fmla="*/ 142402 h 142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5297" h="142402">
                  <a:moveTo>
                    <a:pt x="405297" y="5977"/>
                  </a:moveTo>
                  <a:lnTo>
                    <a:pt x="192198" y="0"/>
                  </a:lnTo>
                  <a:lnTo>
                    <a:pt x="0" y="142402"/>
                  </a:lnTo>
                </a:path>
              </a:pathLst>
            </a:custGeom>
            <a:noFill/>
            <a:ln w="25400">
              <a:solidFill>
                <a:srgbClr val="7671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79" name="Yellow Small Circle">
              <a:extLst>
                <a:ext uri="{FF2B5EF4-FFF2-40B4-BE49-F238E27FC236}">
                  <a16:creationId xmlns:a16="http://schemas.microsoft.com/office/drawing/2014/main" id="{24F1ECA1-D902-458C-A9CE-C6508CCD1F2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011716" y="1794246"/>
              <a:ext cx="174688" cy="174688"/>
              <a:chOff x="5980364" y="2010546"/>
              <a:chExt cx="291146" cy="291145"/>
            </a:xfrm>
          </p:grpSpPr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2F2A87A6-BF10-40DA-B690-FB87FCABB212}"/>
                  </a:ext>
                </a:extLst>
              </p:cNvPr>
              <p:cNvSpPr/>
              <p:nvPr/>
            </p:nvSpPr>
            <p:spPr>
              <a:xfrm>
                <a:off x="5980364" y="2010546"/>
                <a:ext cx="291146" cy="291145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4890E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8CCF19FE-EA2E-42E5-80DF-3AA5AADD12C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6" y="2040252"/>
                <a:ext cx="231724" cy="231724"/>
              </a:xfrm>
              <a:prstGeom prst="ellipse">
                <a:avLst/>
              </a:prstGeom>
              <a:solidFill>
                <a:srgbClr val="4890E4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0" name="Yellow Patch">
              <a:extLst>
                <a:ext uri="{FF2B5EF4-FFF2-40B4-BE49-F238E27FC236}">
                  <a16:creationId xmlns:a16="http://schemas.microsoft.com/office/drawing/2014/main" id="{897BA76C-E390-4C3A-A777-71F48DFF8DA3}"/>
                </a:ext>
              </a:extLst>
            </p:cNvPr>
            <p:cNvGrpSpPr/>
            <p:nvPr/>
          </p:nvGrpSpPr>
          <p:grpSpPr>
            <a:xfrm>
              <a:off x="101316" y="1324259"/>
              <a:ext cx="5668583" cy="909052"/>
              <a:chOff x="101316" y="1324259"/>
              <a:chExt cx="5668583" cy="909052"/>
            </a:xfrm>
          </p:grpSpPr>
          <p:sp>
            <p:nvSpPr>
              <p:cNvPr id="84" name="Rectangle: Rounded Corners 83">
                <a:extLst>
                  <a:ext uri="{FF2B5EF4-FFF2-40B4-BE49-F238E27FC236}">
                    <a16:creationId xmlns:a16="http://schemas.microsoft.com/office/drawing/2014/main" id="{377C9526-37BD-459A-9906-322E66CB81E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43130" y="1331632"/>
                <a:ext cx="5426769" cy="886929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38100">
                <a:solidFill>
                  <a:srgbClr val="4890E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" name="Rectangle 29">
                <a:extLst>
                  <a:ext uri="{FF2B5EF4-FFF2-40B4-BE49-F238E27FC236}">
                    <a16:creationId xmlns:a16="http://schemas.microsoft.com/office/drawing/2014/main" id="{6B6F226D-E137-4377-8535-99B0C8578BA9}"/>
                  </a:ext>
                </a:extLst>
              </p:cNvPr>
              <p:cNvSpPr/>
              <p:nvPr/>
            </p:nvSpPr>
            <p:spPr>
              <a:xfrm>
                <a:off x="101316" y="1324259"/>
                <a:ext cx="4319769" cy="909052"/>
              </a:xfrm>
              <a:custGeom>
                <a:avLst/>
                <a:gdLst>
                  <a:gd name="connsiteX0" fmla="*/ 0 w 4324832"/>
                  <a:gd name="connsiteY0" fmla="*/ 0 h 886929"/>
                  <a:gd name="connsiteX1" fmla="*/ 4324832 w 4324832"/>
                  <a:gd name="connsiteY1" fmla="*/ 0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22122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901678"/>
                  <a:gd name="connsiteX1" fmla="*/ 4324832 w 4324832"/>
                  <a:gd name="connsiteY1" fmla="*/ 36871 h 901678"/>
                  <a:gd name="connsiteX2" fmla="*/ 4324832 w 4324832"/>
                  <a:gd name="connsiteY2" fmla="*/ 879556 h 901678"/>
                  <a:gd name="connsiteX3" fmla="*/ 0 w 4324832"/>
                  <a:gd name="connsiteY3" fmla="*/ 901678 h 901678"/>
                  <a:gd name="connsiteX4" fmla="*/ 0 w 4324832"/>
                  <a:gd name="connsiteY4" fmla="*/ 0 h 901678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31176"/>
                  <a:gd name="connsiteX1" fmla="*/ 4324832 w 4324832"/>
                  <a:gd name="connsiteY1" fmla="*/ 36871 h 931176"/>
                  <a:gd name="connsiteX2" fmla="*/ 4324832 w 4324832"/>
                  <a:gd name="connsiteY2" fmla="*/ 879556 h 931176"/>
                  <a:gd name="connsiteX3" fmla="*/ 0 w 4324832"/>
                  <a:gd name="connsiteY3" fmla="*/ 931176 h 931176"/>
                  <a:gd name="connsiteX4" fmla="*/ 0 w 4324832"/>
                  <a:gd name="connsiteY4" fmla="*/ 0 h 931176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09052"/>
                  <a:gd name="connsiteX1" fmla="*/ 4324832 w 4324832"/>
                  <a:gd name="connsiteY1" fmla="*/ 29496 h 909052"/>
                  <a:gd name="connsiteX2" fmla="*/ 4324832 w 4324832"/>
                  <a:gd name="connsiteY2" fmla="*/ 872181 h 909052"/>
                  <a:gd name="connsiteX3" fmla="*/ 0 w 4324832"/>
                  <a:gd name="connsiteY3" fmla="*/ 909052 h 909052"/>
                  <a:gd name="connsiteX4" fmla="*/ 0 w 4324832"/>
                  <a:gd name="connsiteY4" fmla="*/ 0 h 90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4832" h="909052">
                    <a:moveTo>
                      <a:pt x="0" y="0"/>
                    </a:moveTo>
                    <a:lnTo>
                      <a:pt x="4324832" y="29496"/>
                    </a:lnTo>
                    <a:lnTo>
                      <a:pt x="4324832" y="872181"/>
                    </a:lnTo>
                    <a:lnTo>
                      <a:pt x="0" y="9090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1" name="Yellow Big Circle">
              <a:extLst>
                <a:ext uri="{FF2B5EF4-FFF2-40B4-BE49-F238E27FC236}">
                  <a16:creationId xmlns:a16="http://schemas.microsoft.com/office/drawing/2014/main" id="{37BA9F99-705D-4089-ABA7-BD8CB4B630A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85235" y="1590023"/>
              <a:ext cx="351252" cy="351252"/>
              <a:chOff x="5980364" y="1469777"/>
              <a:chExt cx="291146" cy="291146"/>
            </a:xfrm>
          </p:grpSpPr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E7902B14-25DE-4A7B-BC91-C4909DDA4DF7}"/>
                  </a:ext>
                </a:extLst>
              </p:cNvPr>
              <p:cNvSpPr/>
              <p:nvPr/>
            </p:nvSpPr>
            <p:spPr>
              <a:xfrm>
                <a:off x="5980364" y="1469777"/>
                <a:ext cx="291146" cy="291146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4890E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B91F949C-2D44-4F91-97CE-F89D1126FE7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5" y="1499488"/>
                <a:ext cx="231725" cy="231725"/>
              </a:xfrm>
              <a:prstGeom prst="ellipse">
                <a:avLst/>
              </a:prstGeom>
              <a:solidFill>
                <a:srgbClr val="4890E4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88" name="Blue P1">
            <a:extLst>
              <a:ext uri="{FF2B5EF4-FFF2-40B4-BE49-F238E27FC236}">
                <a16:creationId xmlns:a16="http://schemas.microsoft.com/office/drawing/2014/main" id="{F29A2C37-42AA-4814-9ACB-1FC99AB9B6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51261" y="1588757"/>
            <a:ext cx="4307185" cy="820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ctr" anchorCtr="0">
            <a:spAutoFit/>
          </a:bodyPr>
          <a:lstStyle/>
          <a:p>
            <a:pPr lvl="0">
              <a:lnSpc>
                <a:spcPct val="107000"/>
              </a:lnSpc>
              <a:spcAft>
                <a:spcPts val="800"/>
              </a:spcAft>
              <a:buClrTx/>
            </a:pPr>
            <a:r>
              <a:rPr lang="en-US" sz="1500" kern="1200" dirty="0">
                <a:solidFill>
                  <a:prstClr val="black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as no management console similar to that of Cloudera Manager, which makes it difficult to manage and monitor services</a:t>
            </a:r>
          </a:p>
        </p:txBody>
      </p:sp>
      <p:grpSp>
        <p:nvGrpSpPr>
          <p:cNvPr id="89" name="Yellow P1 Patch">
            <a:extLst>
              <a:ext uri="{FF2B5EF4-FFF2-40B4-BE49-F238E27FC236}">
                <a16:creationId xmlns:a16="http://schemas.microsoft.com/office/drawing/2014/main" id="{7F6D411E-7E8B-47D0-8A6C-798BE9EEC2E6}"/>
              </a:ext>
            </a:extLst>
          </p:cNvPr>
          <p:cNvGrpSpPr/>
          <p:nvPr/>
        </p:nvGrpSpPr>
        <p:grpSpPr>
          <a:xfrm>
            <a:off x="204213" y="1556271"/>
            <a:ext cx="5982191" cy="909052"/>
            <a:chOff x="204213" y="1324259"/>
            <a:chExt cx="5982191" cy="909052"/>
          </a:xfrm>
        </p:grpSpPr>
        <p:sp>
          <p:nvSpPr>
            <p:cNvPr id="90" name="Yellow P1 Line">
              <a:extLst>
                <a:ext uri="{FF2B5EF4-FFF2-40B4-BE49-F238E27FC236}">
                  <a16:creationId xmlns:a16="http://schemas.microsoft.com/office/drawing/2014/main" id="{1CBB9BE1-5EBE-4C82-9061-3A687DBFC921}"/>
                </a:ext>
              </a:extLst>
            </p:cNvPr>
            <p:cNvSpPr/>
            <p:nvPr/>
          </p:nvSpPr>
          <p:spPr>
            <a:xfrm flipH="1">
              <a:off x="5691654" y="1563105"/>
              <a:ext cx="410322" cy="195170"/>
            </a:xfrm>
            <a:custGeom>
              <a:avLst/>
              <a:gdLst>
                <a:gd name="connsiteX0" fmla="*/ 0 w 523875"/>
                <a:gd name="connsiteY0" fmla="*/ 523875 h 523875"/>
                <a:gd name="connsiteX1" fmla="*/ 0 w 523875"/>
                <a:gd name="connsiteY1" fmla="*/ 0 h 523875"/>
                <a:gd name="connsiteX2" fmla="*/ 523875 w 523875"/>
                <a:gd name="connsiteY2" fmla="*/ 523875 h 523875"/>
                <a:gd name="connsiteX3" fmla="*/ 0 w 523875"/>
                <a:gd name="connsiteY3" fmla="*/ 523875 h 523875"/>
                <a:gd name="connsiteX0" fmla="*/ 523875 w 615315"/>
                <a:gd name="connsiteY0" fmla="*/ 523875 h 615315"/>
                <a:gd name="connsiteX1" fmla="*/ 0 w 615315"/>
                <a:gd name="connsiteY1" fmla="*/ 523875 h 615315"/>
                <a:gd name="connsiteX2" fmla="*/ 0 w 615315"/>
                <a:gd name="connsiteY2" fmla="*/ 0 h 615315"/>
                <a:gd name="connsiteX3" fmla="*/ 615315 w 615315"/>
                <a:gd name="connsiteY3" fmla="*/ 615315 h 615315"/>
                <a:gd name="connsiteX0" fmla="*/ 523875 w 523875"/>
                <a:gd name="connsiteY0" fmla="*/ 523875 h 523875"/>
                <a:gd name="connsiteX1" fmla="*/ 0 w 523875"/>
                <a:gd name="connsiteY1" fmla="*/ 523875 h 523875"/>
                <a:gd name="connsiteX2" fmla="*/ 0 w 523875"/>
                <a:gd name="connsiteY2" fmla="*/ 0 h 523875"/>
                <a:gd name="connsiteX0" fmla="*/ 523875 w 523875"/>
                <a:gd name="connsiteY0" fmla="*/ 523875 h 523875"/>
                <a:gd name="connsiteX1" fmla="*/ 203200 w 523875"/>
                <a:gd name="connsiteY1" fmla="*/ 523875 h 523875"/>
                <a:gd name="connsiteX2" fmla="*/ 0 w 523875"/>
                <a:gd name="connsiteY2" fmla="*/ 0 h 523875"/>
                <a:gd name="connsiteX0" fmla="*/ 410322 w 410322"/>
                <a:gd name="connsiteY0" fmla="*/ 225052 h 225052"/>
                <a:gd name="connsiteX1" fmla="*/ 89647 w 410322"/>
                <a:gd name="connsiteY1" fmla="*/ 225052 h 225052"/>
                <a:gd name="connsiteX2" fmla="*/ 0 w 410322"/>
                <a:gd name="connsiteY2" fmla="*/ 0 h 225052"/>
                <a:gd name="connsiteX0" fmla="*/ 410322 w 410322"/>
                <a:gd name="connsiteY0" fmla="*/ 225052 h 225052"/>
                <a:gd name="connsiteX1" fmla="*/ 197223 w 410322"/>
                <a:gd name="connsiteY1" fmla="*/ 219075 h 225052"/>
                <a:gd name="connsiteX2" fmla="*/ 0 w 410322"/>
                <a:gd name="connsiteY2" fmla="*/ 0 h 225052"/>
                <a:gd name="connsiteX0" fmla="*/ 410322 w 410322"/>
                <a:gd name="connsiteY0" fmla="*/ 195170 h 195170"/>
                <a:gd name="connsiteX1" fmla="*/ 197223 w 410322"/>
                <a:gd name="connsiteY1" fmla="*/ 189193 h 195170"/>
                <a:gd name="connsiteX2" fmla="*/ 0 w 410322"/>
                <a:gd name="connsiteY2" fmla="*/ 0 h 195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0322" h="195170">
                  <a:moveTo>
                    <a:pt x="410322" y="195170"/>
                  </a:moveTo>
                  <a:lnTo>
                    <a:pt x="197223" y="189193"/>
                  </a:lnTo>
                  <a:lnTo>
                    <a:pt x="0" y="0"/>
                  </a:lnTo>
                </a:path>
              </a:pathLst>
            </a:custGeom>
            <a:noFill/>
            <a:ln w="25400">
              <a:solidFill>
                <a:srgbClr val="7671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91" name="Yellow Small Circle">
              <a:extLst>
                <a:ext uri="{FF2B5EF4-FFF2-40B4-BE49-F238E27FC236}">
                  <a16:creationId xmlns:a16="http://schemas.microsoft.com/office/drawing/2014/main" id="{9701EC90-0E97-4AEE-AB72-7F12CA06DFE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011716" y="1469783"/>
              <a:ext cx="174688" cy="174688"/>
              <a:chOff x="5980364" y="1469777"/>
              <a:chExt cx="291146" cy="291146"/>
            </a:xfrm>
          </p:grpSpPr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411D0254-7FEC-4116-9311-08C9013AFFAD}"/>
                  </a:ext>
                </a:extLst>
              </p:cNvPr>
              <p:cNvSpPr/>
              <p:nvPr/>
            </p:nvSpPr>
            <p:spPr>
              <a:xfrm>
                <a:off x="5980364" y="1469777"/>
                <a:ext cx="291146" cy="291146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F4AB3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E003E720-704B-45F7-936C-7E41A120B3F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5" y="1499488"/>
                <a:ext cx="231725" cy="231725"/>
              </a:xfrm>
              <a:prstGeom prst="ellipse">
                <a:avLst/>
              </a:prstGeom>
              <a:solidFill>
                <a:srgbClr val="F4AB35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92" name="Yellow Patch">
              <a:extLst>
                <a:ext uri="{FF2B5EF4-FFF2-40B4-BE49-F238E27FC236}">
                  <a16:creationId xmlns:a16="http://schemas.microsoft.com/office/drawing/2014/main" id="{4434EAF0-57FA-4E8A-8E1E-DD91DCAB32B4}"/>
                </a:ext>
              </a:extLst>
            </p:cNvPr>
            <p:cNvGrpSpPr/>
            <p:nvPr/>
          </p:nvGrpSpPr>
          <p:grpSpPr>
            <a:xfrm>
              <a:off x="204213" y="1324259"/>
              <a:ext cx="5565686" cy="909052"/>
              <a:chOff x="204213" y="1324259"/>
              <a:chExt cx="5565686" cy="909052"/>
            </a:xfrm>
          </p:grpSpPr>
          <p:sp>
            <p:nvSpPr>
              <p:cNvPr id="96" name="Rectangle: Rounded Corners 95">
                <a:extLst>
                  <a:ext uri="{FF2B5EF4-FFF2-40B4-BE49-F238E27FC236}">
                    <a16:creationId xmlns:a16="http://schemas.microsoft.com/office/drawing/2014/main" id="{DC364EF7-E20F-4AE3-978F-16FCFD61EB1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43130" y="1331632"/>
                <a:ext cx="5426769" cy="886929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38100">
                <a:solidFill>
                  <a:srgbClr val="F4AB3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7" name="Rectangle 29">
                <a:extLst>
                  <a:ext uri="{FF2B5EF4-FFF2-40B4-BE49-F238E27FC236}">
                    <a16:creationId xmlns:a16="http://schemas.microsoft.com/office/drawing/2014/main" id="{0B7A417C-226B-4086-81B5-E9575F1E9A61}"/>
                  </a:ext>
                </a:extLst>
              </p:cNvPr>
              <p:cNvSpPr/>
              <p:nvPr/>
            </p:nvSpPr>
            <p:spPr>
              <a:xfrm>
                <a:off x="204213" y="1324259"/>
                <a:ext cx="4216872" cy="909052"/>
              </a:xfrm>
              <a:custGeom>
                <a:avLst/>
                <a:gdLst>
                  <a:gd name="connsiteX0" fmla="*/ 0 w 4324832"/>
                  <a:gd name="connsiteY0" fmla="*/ 0 h 886929"/>
                  <a:gd name="connsiteX1" fmla="*/ 4324832 w 4324832"/>
                  <a:gd name="connsiteY1" fmla="*/ 0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86929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14748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886929"/>
                  <a:gd name="connsiteX1" fmla="*/ 4324832 w 4324832"/>
                  <a:gd name="connsiteY1" fmla="*/ 22122 h 886929"/>
                  <a:gd name="connsiteX2" fmla="*/ 4324832 w 4324832"/>
                  <a:gd name="connsiteY2" fmla="*/ 864807 h 886929"/>
                  <a:gd name="connsiteX3" fmla="*/ 0 w 4324832"/>
                  <a:gd name="connsiteY3" fmla="*/ 886929 h 886929"/>
                  <a:gd name="connsiteX4" fmla="*/ 0 w 4324832"/>
                  <a:gd name="connsiteY4" fmla="*/ 0 h 886929"/>
                  <a:gd name="connsiteX0" fmla="*/ 0 w 4324832"/>
                  <a:gd name="connsiteY0" fmla="*/ 0 h 901678"/>
                  <a:gd name="connsiteX1" fmla="*/ 4324832 w 4324832"/>
                  <a:gd name="connsiteY1" fmla="*/ 36871 h 901678"/>
                  <a:gd name="connsiteX2" fmla="*/ 4324832 w 4324832"/>
                  <a:gd name="connsiteY2" fmla="*/ 879556 h 901678"/>
                  <a:gd name="connsiteX3" fmla="*/ 0 w 4324832"/>
                  <a:gd name="connsiteY3" fmla="*/ 901678 h 901678"/>
                  <a:gd name="connsiteX4" fmla="*/ 0 w 4324832"/>
                  <a:gd name="connsiteY4" fmla="*/ 0 h 901678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31176"/>
                  <a:gd name="connsiteX1" fmla="*/ 4324832 w 4324832"/>
                  <a:gd name="connsiteY1" fmla="*/ 36871 h 931176"/>
                  <a:gd name="connsiteX2" fmla="*/ 4324832 w 4324832"/>
                  <a:gd name="connsiteY2" fmla="*/ 879556 h 931176"/>
                  <a:gd name="connsiteX3" fmla="*/ 0 w 4324832"/>
                  <a:gd name="connsiteY3" fmla="*/ 931176 h 931176"/>
                  <a:gd name="connsiteX4" fmla="*/ 0 w 4324832"/>
                  <a:gd name="connsiteY4" fmla="*/ 0 h 931176"/>
                  <a:gd name="connsiteX0" fmla="*/ 0 w 4324832"/>
                  <a:gd name="connsiteY0" fmla="*/ 0 h 916427"/>
                  <a:gd name="connsiteX1" fmla="*/ 4324832 w 4324832"/>
                  <a:gd name="connsiteY1" fmla="*/ 36871 h 916427"/>
                  <a:gd name="connsiteX2" fmla="*/ 4324832 w 4324832"/>
                  <a:gd name="connsiteY2" fmla="*/ 879556 h 916427"/>
                  <a:gd name="connsiteX3" fmla="*/ 0 w 4324832"/>
                  <a:gd name="connsiteY3" fmla="*/ 916427 h 916427"/>
                  <a:gd name="connsiteX4" fmla="*/ 0 w 4324832"/>
                  <a:gd name="connsiteY4" fmla="*/ 0 h 916427"/>
                  <a:gd name="connsiteX0" fmla="*/ 0 w 4324832"/>
                  <a:gd name="connsiteY0" fmla="*/ 0 h 909052"/>
                  <a:gd name="connsiteX1" fmla="*/ 4324832 w 4324832"/>
                  <a:gd name="connsiteY1" fmla="*/ 29496 h 909052"/>
                  <a:gd name="connsiteX2" fmla="*/ 4324832 w 4324832"/>
                  <a:gd name="connsiteY2" fmla="*/ 872181 h 909052"/>
                  <a:gd name="connsiteX3" fmla="*/ 0 w 4324832"/>
                  <a:gd name="connsiteY3" fmla="*/ 909052 h 909052"/>
                  <a:gd name="connsiteX4" fmla="*/ 0 w 4324832"/>
                  <a:gd name="connsiteY4" fmla="*/ 0 h 90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4832" h="909052">
                    <a:moveTo>
                      <a:pt x="0" y="0"/>
                    </a:moveTo>
                    <a:lnTo>
                      <a:pt x="4324832" y="29496"/>
                    </a:lnTo>
                    <a:lnTo>
                      <a:pt x="4324832" y="872181"/>
                    </a:lnTo>
                    <a:lnTo>
                      <a:pt x="0" y="9090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93" name="Yellow Big Circle">
              <a:extLst>
                <a:ext uri="{FF2B5EF4-FFF2-40B4-BE49-F238E27FC236}">
                  <a16:creationId xmlns:a16="http://schemas.microsoft.com/office/drawing/2014/main" id="{CEC92A91-9F8B-405F-B3D4-A7A862F88E0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85235" y="1590023"/>
              <a:ext cx="351252" cy="351252"/>
              <a:chOff x="5980364" y="1469777"/>
              <a:chExt cx="291146" cy="291146"/>
            </a:xfrm>
          </p:grpSpPr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BB90A652-4350-40E1-880B-869066493CB0}"/>
                  </a:ext>
                </a:extLst>
              </p:cNvPr>
              <p:cNvSpPr/>
              <p:nvPr/>
            </p:nvSpPr>
            <p:spPr>
              <a:xfrm>
                <a:off x="5980364" y="1469777"/>
                <a:ext cx="291146" cy="291146"/>
              </a:xfrm>
              <a:prstGeom prst="ellipse">
                <a:avLst/>
              </a:prstGeom>
              <a:solidFill>
                <a:schemeClr val="bg1"/>
              </a:solidFill>
              <a:ln cmpd="sng">
                <a:solidFill>
                  <a:srgbClr val="F4AB3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0DEFFA1F-06A5-4A6A-8435-4D758FB65A6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10075" y="1499488"/>
                <a:ext cx="231725" cy="231725"/>
              </a:xfrm>
              <a:prstGeom prst="ellipse">
                <a:avLst/>
              </a:prstGeom>
              <a:solidFill>
                <a:srgbClr val="F4AB35"/>
              </a:solidFill>
              <a:ln cmpd="sng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0" name="Yellow P1">
            <a:extLst>
              <a:ext uri="{FF2B5EF4-FFF2-40B4-BE49-F238E27FC236}">
                <a16:creationId xmlns:a16="http://schemas.microsoft.com/office/drawing/2014/main" id="{28DD376D-E408-458C-9BD9-6B34D36C4D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8032" y="1592636"/>
            <a:ext cx="4307185" cy="812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ctr" anchorCtr="0">
            <a:spAutoFit/>
          </a:bodyPr>
          <a:lstStyle/>
          <a:p>
            <a:pPr lvl="0" algn="r">
              <a:lnSpc>
                <a:spcPct val="107000"/>
              </a:lnSpc>
              <a:spcAft>
                <a:spcPts val="800"/>
              </a:spcAft>
              <a:buClrTx/>
            </a:pPr>
            <a:r>
              <a:rPr lang="en-US" sz="1500" kern="1200" dirty="0">
                <a:solidFill>
                  <a:prstClr val="black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rovides automatic scaling and ensures minimal loss of HDFS data and low costs, as spot instances can be used</a:t>
            </a:r>
          </a:p>
        </p:txBody>
      </p:sp>
      <p:sp>
        <p:nvSpPr>
          <p:cNvPr id="101" name="Yellow Heading">
            <a:extLst>
              <a:ext uri="{FF2B5EF4-FFF2-40B4-BE49-F238E27FC236}">
                <a16:creationId xmlns:a16="http://schemas.microsoft.com/office/drawing/2014/main" id="{6CD0F719-E860-49F9-B79A-C351981432F9}"/>
              </a:ext>
            </a:extLst>
          </p:cNvPr>
          <p:cNvSpPr/>
          <p:nvPr/>
        </p:nvSpPr>
        <p:spPr>
          <a:xfrm>
            <a:off x="1869972" y="880157"/>
            <a:ext cx="2650672" cy="4042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vantage</a:t>
            </a:r>
            <a:endParaRPr kumimoji="0" lang="en-IN" sz="2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2" name="Blue Heading">
            <a:extLst>
              <a:ext uri="{FF2B5EF4-FFF2-40B4-BE49-F238E27FC236}">
                <a16:creationId xmlns:a16="http://schemas.microsoft.com/office/drawing/2014/main" id="{41361630-C0B2-46BC-A6B9-A380D7A1CD9B}"/>
              </a:ext>
            </a:extLst>
          </p:cNvPr>
          <p:cNvSpPr/>
          <p:nvPr/>
        </p:nvSpPr>
        <p:spPr>
          <a:xfrm>
            <a:off x="7728382" y="880157"/>
            <a:ext cx="2650672" cy="4042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ato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advantage</a:t>
            </a:r>
            <a:endParaRPr kumimoji="0" lang="en-IN" sz="2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3" name="Heading">
            <a:extLst>
              <a:ext uri="{FF2B5EF4-FFF2-40B4-BE49-F238E27FC236}">
                <a16:creationId xmlns:a16="http://schemas.microsoft.com/office/drawing/2014/main" id="{AD11ACF2-2976-4BDE-A0D5-8C777AC56D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6500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b="1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MR CLUSTER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4" name="Rectangle 29">
            <a:extLst>
              <a:ext uri="{FF2B5EF4-FFF2-40B4-BE49-F238E27FC236}">
                <a16:creationId xmlns:a16="http://schemas.microsoft.com/office/drawing/2014/main" id="{C83E215F-BD54-4EE2-9E4B-F8F6CE5CDFBD}"/>
              </a:ext>
            </a:extLst>
          </p:cNvPr>
          <p:cNvSpPr/>
          <p:nvPr/>
        </p:nvSpPr>
        <p:spPr>
          <a:xfrm flipH="1">
            <a:off x="11343967" y="1456652"/>
            <a:ext cx="848031" cy="4773005"/>
          </a:xfrm>
          <a:custGeom>
            <a:avLst/>
            <a:gdLst>
              <a:gd name="connsiteX0" fmla="*/ 0 w 4324832"/>
              <a:gd name="connsiteY0" fmla="*/ 0 h 886929"/>
              <a:gd name="connsiteX1" fmla="*/ 4324832 w 4324832"/>
              <a:gd name="connsiteY1" fmla="*/ 0 h 886929"/>
              <a:gd name="connsiteX2" fmla="*/ 4324832 w 4324832"/>
              <a:gd name="connsiteY2" fmla="*/ 886929 h 886929"/>
              <a:gd name="connsiteX3" fmla="*/ 0 w 4324832"/>
              <a:gd name="connsiteY3" fmla="*/ 886929 h 886929"/>
              <a:gd name="connsiteX4" fmla="*/ 0 w 4324832"/>
              <a:gd name="connsiteY4" fmla="*/ 0 h 886929"/>
              <a:gd name="connsiteX0" fmla="*/ 0 w 4324832"/>
              <a:gd name="connsiteY0" fmla="*/ 0 h 886929"/>
              <a:gd name="connsiteX1" fmla="*/ 4324832 w 4324832"/>
              <a:gd name="connsiteY1" fmla="*/ 14748 h 886929"/>
              <a:gd name="connsiteX2" fmla="*/ 4324832 w 4324832"/>
              <a:gd name="connsiteY2" fmla="*/ 886929 h 886929"/>
              <a:gd name="connsiteX3" fmla="*/ 0 w 4324832"/>
              <a:gd name="connsiteY3" fmla="*/ 886929 h 886929"/>
              <a:gd name="connsiteX4" fmla="*/ 0 w 4324832"/>
              <a:gd name="connsiteY4" fmla="*/ 0 h 886929"/>
              <a:gd name="connsiteX0" fmla="*/ 0 w 4324832"/>
              <a:gd name="connsiteY0" fmla="*/ 0 h 886929"/>
              <a:gd name="connsiteX1" fmla="*/ 4324832 w 4324832"/>
              <a:gd name="connsiteY1" fmla="*/ 14748 h 886929"/>
              <a:gd name="connsiteX2" fmla="*/ 4324832 w 4324832"/>
              <a:gd name="connsiteY2" fmla="*/ 864807 h 886929"/>
              <a:gd name="connsiteX3" fmla="*/ 0 w 4324832"/>
              <a:gd name="connsiteY3" fmla="*/ 886929 h 886929"/>
              <a:gd name="connsiteX4" fmla="*/ 0 w 4324832"/>
              <a:gd name="connsiteY4" fmla="*/ 0 h 886929"/>
              <a:gd name="connsiteX0" fmla="*/ 0 w 4324832"/>
              <a:gd name="connsiteY0" fmla="*/ 0 h 886929"/>
              <a:gd name="connsiteX1" fmla="*/ 4324832 w 4324832"/>
              <a:gd name="connsiteY1" fmla="*/ 22122 h 886929"/>
              <a:gd name="connsiteX2" fmla="*/ 4324832 w 4324832"/>
              <a:gd name="connsiteY2" fmla="*/ 864807 h 886929"/>
              <a:gd name="connsiteX3" fmla="*/ 0 w 4324832"/>
              <a:gd name="connsiteY3" fmla="*/ 886929 h 886929"/>
              <a:gd name="connsiteX4" fmla="*/ 0 w 4324832"/>
              <a:gd name="connsiteY4" fmla="*/ 0 h 886929"/>
              <a:gd name="connsiteX0" fmla="*/ 0 w 4324832"/>
              <a:gd name="connsiteY0" fmla="*/ 0 h 901678"/>
              <a:gd name="connsiteX1" fmla="*/ 4324832 w 4324832"/>
              <a:gd name="connsiteY1" fmla="*/ 36871 h 901678"/>
              <a:gd name="connsiteX2" fmla="*/ 4324832 w 4324832"/>
              <a:gd name="connsiteY2" fmla="*/ 879556 h 901678"/>
              <a:gd name="connsiteX3" fmla="*/ 0 w 4324832"/>
              <a:gd name="connsiteY3" fmla="*/ 901678 h 901678"/>
              <a:gd name="connsiteX4" fmla="*/ 0 w 4324832"/>
              <a:gd name="connsiteY4" fmla="*/ 0 h 901678"/>
              <a:gd name="connsiteX0" fmla="*/ 0 w 4324832"/>
              <a:gd name="connsiteY0" fmla="*/ 0 h 916427"/>
              <a:gd name="connsiteX1" fmla="*/ 4324832 w 4324832"/>
              <a:gd name="connsiteY1" fmla="*/ 36871 h 916427"/>
              <a:gd name="connsiteX2" fmla="*/ 4324832 w 4324832"/>
              <a:gd name="connsiteY2" fmla="*/ 879556 h 916427"/>
              <a:gd name="connsiteX3" fmla="*/ 0 w 4324832"/>
              <a:gd name="connsiteY3" fmla="*/ 916427 h 916427"/>
              <a:gd name="connsiteX4" fmla="*/ 0 w 4324832"/>
              <a:gd name="connsiteY4" fmla="*/ 0 h 916427"/>
              <a:gd name="connsiteX0" fmla="*/ 0 w 4324832"/>
              <a:gd name="connsiteY0" fmla="*/ 0 h 931176"/>
              <a:gd name="connsiteX1" fmla="*/ 4324832 w 4324832"/>
              <a:gd name="connsiteY1" fmla="*/ 36871 h 931176"/>
              <a:gd name="connsiteX2" fmla="*/ 4324832 w 4324832"/>
              <a:gd name="connsiteY2" fmla="*/ 879556 h 931176"/>
              <a:gd name="connsiteX3" fmla="*/ 0 w 4324832"/>
              <a:gd name="connsiteY3" fmla="*/ 931176 h 931176"/>
              <a:gd name="connsiteX4" fmla="*/ 0 w 4324832"/>
              <a:gd name="connsiteY4" fmla="*/ 0 h 931176"/>
              <a:gd name="connsiteX0" fmla="*/ 0 w 4324832"/>
              <a:gd name="connsiteY0" fmla="*/ 0 h 916427"/>
              <a:gd name="connsiteX1" fmla="*/ 4324832 w 4324832"/>
              <a:gd name="connsiteY1" fmla="*/ 36871 h 916427"/>
              <a:gd name="connsiteX2" fmla="*/ 4324832 w 4324832"/>
              <a:gd name="connsiteY2" fmla="*/ 879556 h 916427"/>
              <a:gd name="connsiteX3" fmla="*/ 0 w 4324832"/>
              <a:gd name="connsiteY3" fmla="*/ 916427 h 916427"/>
              <a:gd name="connsiteX4" fmla="*/ 0 w 4324832"/>
              <a:gd name="connsiteY4" fmla="*/ 0 h 916427"/>
              <a:gd name="connsiteX0" fmla="*/ 0 w 4324832"/>
              <a:gd name="connsiteY0" fmla="*/ 0 h 909052"/>
              <a:gd name="connsiteX1" fmla="*/ 4324832 w 4324832"/>
              <a:gd name="connsiteY1" fmla="*/ 29496 h 909052"/>
              <a:gd name="connsiteX2" fmla="*/ 4324832 w 4324832"/>
              <a:gd name="connsiteY2" fmla="*/ 872181 h 909052"/>
              <a:gd name="connsiteX3" fmla="*/ 0 w 4324832"/>
              <a:gd name="connsiteY3" fmla="*/ 909052 h 909052"/>
              <a:gd name="connsiteX4" fmla="*/ 0 w 4324832"/>
              <a:gd name="connsiteY4" fmla="*/ 0 h 909052"/>
              <a:gd name="connsiteX0" fmla="*/ 0 w 4324832"/>
              <a:gd name="connsiteY0" fmla="*/ 5547 h 914599"/>
              <a:gd name="connsiteX1" fmla="*/ 4324832 w 4324832"/>
              <a:gd name="connsiteY1" fmla="*/ 0 h 914599"/>
              <a:gd name="connsiteX2" fmla="*/ 4324832 w 4324832"/>
              <a:gd name="connsiteY2" fmla="*/ 877728 h 914599"/>
              <a:gd name="connsiteX3" fmla="*/ 0 w 4324832"/>
              <a:gd name="connsiteY3" fmla="*/ 914599 h 914599"/>
              <a:gd name="connsiteX4" fmla="*/ 0 w 4324832"/>
              <a:gd name="connsiteY4" fmla="*/ 5547 h 914599"/>
              <a:gd name="connsiteX0" fmla="*/ 0 w 4603422"/>
              <a:gd name="connsiteY0" fmla="*/ 5547 h 926788"/>
              <a:gd name="connsiteX1" fmla="*/ 4324832 w 4603422"/>
              <a:gd name="connsiteY1" fmla="*/ 0 h 926788"/>
              <a:gd name="connsiteX2" fmla="*/ 4603422 w 4603422"/>
              <a:gd name="connsiteY2" fmla="*/ 926788 h 926788"/>
              <a:gd name="connsiteX3" fmla="*/ 0 w 4603422"/>
              <a:gd name="connsiteY3" fmla="*/ 914599 h 926788"/>
              <a:gd name="connsiteX4" fmla="*/ 0 w 4603422"/>
              <a:gd name="connsiteY4" fmla="*/ 5547 h 926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3422" h="926788">
                <a:moveTo>
                  <a:pt x="0" y="5547"/>
                </a:moveTo>
                <a:lnTo>
                  <a:pt x="4324832" y="0"/>
                </a:lnTo>
                <a:lnTo>
                  <a:pt x="4603422" y="926788"/>
                </a:lnTo>
                <a:lnTo>
                  <a:pt x="0" y="914599"/>
                </a:lnTo>
                <a:lnTo>
                  <a:pt x="0" y="55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5" name="Rectangle 29">
            <a:extLst>
              <a:ext uri="{FF2B5EF4-FFF2-40B4-BE49-F238E27FC236}">
                <a16:creationId xmlns:a16="http://schemas.microsoft.com/office/drawing/2014/main" id="{40662E8A-0329-4D21-A246-6C7D7C89A9E2}"/>
              </a:ext>
            </a:extLst>
          </p:cNvPr>
          <p:cNvSpPr/>
          <p:nvPr/>
        </p:nvSpPr>
        <p:spPr>
          <a:xfrm flipH="1">
            <a:off x="65295" y="1470559"/>
            <a:ext cx="777924" cy="4681664"/>
          </a:xfrm>
          <a:custGeom>
            <a:avLst/>
            <a:gdLst>
              <a:gd name="connsiteX0" fmla="*/ 0 w 4324832"/>
              <a:gd name="connsiteY0" fmla="*/ 0 h 886929"/>
              <a:gd name="connsiteX1" fmla="*/ 4324832 w 4324832"/>
              <a:gd name="connsiteY1" fmla="*/ 0 h 886929"/>
              <a:gd name="connsiteX2" fmla="*/ 4324832 w 4324832"/>
              <a:gd name="connsiteY2" fmla="*/ 886929 h 886929"/>
              <a:gd name="connsiteX3" fmla="*/ 0 w 4324832"/>
              <a:gd name="connsiteY3" fmla="*/ 886929 h 886929"/>
              <a:gd name="connsiteX4" fmla="*/ 0 w 4324832"/>
              <a:gd name="connsiteY4" fmla="*/ 0 h 886929"/>
              <a:gd name="connsiteX0" fmla="*/ 0 w 4324832"/>
              <a:gd name="connsiteY0" fmla="*/ 0 h 886929"/>
              <a:gd name="connsiteX1" fmla="*/ 4324832 w 4324832"/>
              <a:gd name="connsiteY1" fmla="*/ 14748 h 886929"/>
              <a:gd name="connsiteX2" fmla="*/ 4324832 w 4324832"/>
              <a:gd name="connsiteY2" fmla="*/ 886929 h 886929"/>
              <a:gd name="connsiteX3" fmla="*/ 0 w 4324832"/>
              <a:gd name="connsiteY3" fmla="*/ 886929 h 886929"/>
              <a:gd name="connsiteX4" fmla="*/ 0 w 4324832"/>
              <a:gd name="connsiteY4" fmla="*/ 0 h 886929"/>
              <a:gd name="connsiteX0" fmla="*/ 0 w 4324832"/>
              <a:gd name="connsiteY0" fmla="*/ 0 h 886929"/>
              <a:gd name="connsiteX1" fmla="*/ 4324832 w 4324832"/>
              <a:gd name="connsiteY1" fmla="*/ 14748 h 886929"/>
              <a:gd name="connsiteX2" fmla="*/ 4324832 w 4324832"/>
              <a:gd name="connsiteY2" fmla="*/ 864807 h 886929"/>
              <a:gd name="connsiteX3" fmla="*/ 0 w 4324832"/>
              <a:gd name="connsiteY3" fmla="*/ 886929 h 886929"/>
              <a:gd name="connsiteX4" fmla="*/ 0 w 4324832"/>
              <a:gd name="connsiteY4" fmla="*/ 0 h 886929"/>
              <a:gd name="connsiteX0" fmla="*/ 0 w 4324832"/>
              <a:gd name="connsiteY0" fmla="*/ 0 h 886929"/>
              <a:gd name="connsiteX1" fmla="*/ 4324832 w 4324832"/>
              <a:gd name="connsiteY1" fmla="*/ 22122 h 886929"/>
              <a:gd name="connsiteX2" fmla="*/ 4324832 w 4324832"/>
              <a:gd name="connsiteY2" fmla="*/ 864807 h 886929"/>
              <a:gd name="connsiteX3" fmla="*/ 0 w 4324832"/>
              <a:gd name="connsiteY3" fmla="*/ 886929 h 886929"/>
              <a:gd name="connsiteX4" fmla="*/ 0 w 4324832"/>
              <a:gd name="connsiteY4" fmla="*/ 0 h 886929"/>
              <a:gd name="connsiteX0" fmla="*/ 0 w 4324832"/>
              <a:gd name="connsiteY0" fmla="*/ 0 h 901678"/>
              <a:gd name="connsiteX1" fmla="*/ 4324832 w 4324832"/>
              <a:gd name="connsiteY1" fmla="*/ 36871 h 901678"/>
              <a:gd name="connsiteX2" fmla="*/ 4324832 w 4324832"/>
              <a:gd name="connsiteY2" fmla="*/ 879556 h 901678"/>
              <a:gd name="connsiteX3" fmla="*/ 0 w 4324832"/>
              <a:gd name="connsiteY3" fmla="*/ 901678 h 901678"/>
              <a:gd name="connsiteX4" fmla="*/ 0 w 4324832"/>
              <a:gd name="connsiteY4" fmla="*/ 0 h 901678"/>
              <a:gd name="connsiteX0" fmla="*/ 0 w 4324832"/>
              <a:gd name="connsiteY0" fmla="*/ 0 h 916427"/>
              <a:gd name="connsiteX1" fmla="*/ 4324832 w 4324832"/>
              <a:gd name="connsiteY1" fmla="*/ 36871 h 916427"/>
              <a:gd name="connsiteX2" fmla="*/ 4324832 w 4324832"/>
              <a:gd name="connsiteY2" fmla="*/ 879556 h 916427"/>
              <a:gd name="connsiteX3" fmla="*/ 0 w 4324832"/>
              <a:gd name="connsiteY3" fmla="*/ 916427 h 916427"/>
              <a:gd name="connsiteX4" fmla="*/ 0 w 4324832"/>
              <a:gd name="connsiteY4" fmla="*/ 0 h 916427"/>
              <a:gd name="connsiteX0" fmla="*/ 0 w 4324832"/>
              <a:gd name="connsiteY0" fmla="*/ 0 h 931176"/>
              <a:gd name="connsiteX1" fmla="*/ 4324832 w 4324832"/>
              <a:gd name="connsiteY1" fmla="*/ 36871 h 931176"/>
              <a:gd name="connsiteX2" fmla="*/ 4324832 w 4324832"/>
              <a:gd name="connsiteY2" fmla="*/ 879556 h 931176"/>
              <a:gd name="connsiteX3" fmla="*/ 0 w 4324832"/>
              <a:gd name="connsiteY3" fmla="*/ 931176 h 931176"/>
              <a:gd name="connsiteX4" fmla="*/ 0 w 4324832"/>
              <a:gd name="connsiteY4" fmla="*/ 0 h 931176"/>
              <a:gd name="connsiteX0" fmla="*/ 0 w 4324832"/>
              <a:gd name="connsiteY0" fmla="*/ 0 h 916427"/>
              <a:gd name="connsiteX1" fmla="*/ 4324832 w 4324832"/>
              <a:gd name="connsiteY1" fmla="*/ 36871 h 916427"/>
              <a:gd name="connsiteX2" fmla="*/ 4324832 w 4324832"/>
              <a:gd name="connsiteY2" fmla="*/ 879556 h 916427"/>
              <a:gd name="connsiteX3" fmla="*/ 0 w 4324832"/>
              <a:gd name="connsiteY3" fmla="*/ 916427 h 916427"/>
              <a:gd name="connsiteX4" fmla="*/ 0 w 4324832"/>
              <a:gd name="connsiteY4" fmla="*/ 0 h 916427"/>
              <a:gd name="connsiteX0" fmla="*/ 0 w 4324832"/>
              <a:gd name="connsiteY0" fmla="*/ 0 h 909052"/>
              <a:gd name="connsiteX1" fmla="*/ 4324832 w 4324832"/>
              <a:gd name="connsiteY1" fmla="*/ 29496 h 909052"/>
              <a:gd name="connsiteX2" fmla="*/ 4324832 w 4324832"/>
              <a:gd name="connsiteY2" fmla="*/ 872181 h 909052"/>
              <a:gd name="connsiteX3" fmla="*/ 0 w 4324832"/>
              <a:gd name="connsiteY3" fmla="*/ 909052 h 909052"/>
              <a:gd name="connsiteX4" fmla="*/ 0 w 4324832"/>
              <a:gd name="connsiteY4" fmla="*/ 0 h 909052"/>
              <a:gd name="connsiteX0" fmla="*/ 0 w 4324832"/>
              <a:gd name="connsiteY0" fmla="*/ 0 h 909052"/>
              <a:gd name="connsiteX1" fmla="*/ 4324832 w 4324832"/>
              <a:gd name="connsiteY1" fmla="*/ 29496 h 909052"/>
              <a:gd name="connsiteX2" fmla="*/ 3767628 w 4324832"/>
              <a:gd name="connsiteY2" fmla="*/ 900216 h 909052"/>
              <a:gd name="connsiteX3" fmla="*/ 0 w 4324832"/>
              <a:gd name="connsiteY3" fmla="*/ 909052 h 909052"/>
              <a:gd name="connsiteX4" fmla="*/ 0 w 4324832"/>
              <a:gd name="connsiteY4" fmla="*/ 0 h 909052"/>
              <a:gd name="connsiteX0" fmla="*/ 0 w 3767628"/>
              <a:gd name="connsiteY0" fmla="*/ 0 h 909052"/>
              <a:gd name="connsiteX1" fmla="*/ 3767628 w 3767628"/>
              <a:gd name="connsiteY1" fmla="*/ 1462 h 909052"/>
              <a:gd name="connsiteX2" fmla="*/ 3767628 w 3767628"/>
              <a:gd name="connsiteY2" fmla="*/ 900216 h 909052"/>
              <a:gd name="connsiteX3" fmla="*/ 0 w 3767628"/>
              <a:gd name="connsiteY3" fmla="*/ 909052 h 909052"/>
              <a:gd name="connsiteX4" fmla="*/ 0 w 3767628"/>
              <a:gd name="connsiteY4" fmla="*/ 0 h 909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67628" h="909052">
                <a:moveTo>
                  <a:pt x="0" y="0"/>
                </a:moveTo>
                <a:lnTo>
                  <a:pt x="3767628" y="1462"/>
                </a:lnTo>
                <a:lnTo>
                  <a:pt x="3767628" y="900216"/>
                </a:lnTo>
                <a:lnTo>
                  <a:pt x="0" y="90905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20745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6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4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9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2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5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1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4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0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9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2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4" grpId="1"/>
      <p:bldP spid="76" grpId="0"/>
      <p:bldP spid="76" grpId="1"/>
      <p:bldP spid="40" grpId="0"/>
      <p:bldP spid="40" grpId="1"/>
      <p:bldP spid="52" grpId="0"/>
      <p:bldP spid="52" grpId="1"/>
      <p:bldP spid="16" grpId="0"/>
      <p:bldP spid="16" grpId="1"/>
      <p:bldP spid="28" grpId="0"/>
      <p:bldP spid="28" grpId="1"/>
      <p:bldP spid="88" grpId="0"/>
      <p:bldP spid="88" grpId="1"/>
      <p:bldP spid="100" grpId="0"/>
      <p:bldP spid="100" grpId="1"/>
      <p:bldP spid="101" grpId="0"/>
      <p:bldP spid="101" grpId="1"/>
      <p:bldP spid="102" grpId="0"/>
      <p:bldP spid="102" grpId="1"/>
      <p:bldP spid="103" grpId="0" animBg="1"/>
      <p:bldP spid="103" grpId="1" animBg="1"/>
      <p:bldP spid="104" grpId="0" animBg="1"/>
      <p:bldP spid="10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Heading">
            <a:extLst>
              <a:ext uri="{FF2B5EF4-FFF2-40B4-BE49-F238E27FC236}">
                <a16:creationId xmlns:a16="http://schemas.microsoft.com/office/drawing/2014/main" id="{C7EFED4F-1232-40CF-948B-DC8991C871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PONENTS OF A SPARK JOB</a:t>
            </a: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B17BD1B1-199F-4BF1-B5CD-8D399ECD7F6D}"/>
              </a:ext>
            </a:extLst>
          </p:cNvPr>
          <p:cNvSpPr>
            <a:spLocks noChangeAspect="1"/>
          </p:cNvSpPr>
          <p:nvPr/>
        </p:nvSpPr>
        <p:spPr>
          <a:xfrm>
            <a:off x="5330031" y="2872582"/>
            <a:ext cx="1531937" cy="1531937"/>
          </a:xfrm>
          <a:custGeom>
            <a:avLst/>
            <a:gdLst>
              <a:gd name="connsiteX0" fmla="*/ 0 w 1531937"/>
              <a:gd name="connsiteY0" fmla="*/ 765969 h 1531937"/>
              <a:gd name="connsiteX1" fmla="*/ 765969 w 1531937"/>
              <a:gd name="connsiteY1" fmla="*/ 0 h 1531937"/>
              <a:gd name="connsiteX2" fmla="*/ 1531938 w 1531937"/>
              <a:gd name="connsiteY2" fmla="*/ 765969 h 1531937"/>
              <a:gd name="connsiteX3" fmla="*/ 765969 w 1531937"/>
              <a:gd name="connsiteY3" fmla="*/ 1531938 h 1531937"/>
              <a:gd name="connsiteX4" fmla="*/ 0 w 1531937"/>
              <a:gd name="connsiteY4" fmla="*/ 765969 h 153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1937" h="1531937">
                <a:moveTo>
                  <a:pt x="0" y="765969"/>
                </a:moveTo>
                <a:cubicBezTo>
                  <a:pt x="0" y="342936"/>
                  <a:pt x="342936" y="0"/>
                  <a:pt x="765969" y="0"/>
                </a:cubicBezTo>
                <a:cubicBezTo>
                  <a:pt x="1189002" y="0"/>
                  <a:pt x="1531938" y="342936"/>
                  <a:pt x="1531938" y="765969"/>
                </a:cubicBezTo>
                <a:cubicBezTo>
                  <a:pt x="1531938" y="1189002"/>
                  <a:pt x="1189002" y="1531938"/>
                  <a:pt x="765969" y="1531938"/>
                </a:cubicBezTo>
                <a:cubicBezTo>
                  <a:pt x="342936" y="1531938"/>
                  <a:pt x="0" y="1189002"/>
                  <a:pt x="0" y="765969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rgbClr val="0EC1C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800" tIns="10800" rIns="10800" bIns="10800" numCol="1" spcCol="1270" anchor="ctr" anchorCtr="0">
            <a:noAutofit/>
          </a:bodyPr>
          <a:lstStyle/>
          <a:p>
            <a:pPr lvl="0" algn="ctr" defTabSz="1422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IN" sz="1800" b="1" kern="1200" dirty="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park</a:t>
            </a:r>
          </a:p>
          <a:p>
            <a:pPr lvl="0" algn="ctr" defTabSz="1422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IN" sz="1800" b="1" kern="1200" dirty="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Job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B9C0CDEF-D71F-4DF4-B1A4-46425A368F85}"/>
              </a:ext>
            </a:extLst>
          </p:cNvPr>
          <p:cNvSpPr>
            <a:spLocks noChangeAspect="1"/>
          </p:cNvSpPr>
          <p:nvPr/>
        </p:nvSpPr>
        <p:spPr>
          <a:xfrm>
            <a:off x="7074799" y="1292475"/>
            <a:ext cx="1531937" cy="1531937"/>
          </a:xfrm>
          <a:custGeom>
            <a:avLst/>
            <a:gdLst>
              <a:gd name="connsiteX0" fmla="*/ 0 w 1531937"/>
              <a:gd name="connsiteY0" fmla="*/ 765969 h 1531937"/>
              <a:gd name="connsiteX1" fmla="*/ 765969 w 1531937"/>
              <a:gd name="connsiteY1" fmla="*/ 0 h 1531937"/>
              <a:gd name="connsiteX2" fmla="*/ 1531938 w 1531937"/>
              <a:gd name="connsiteY2" fmla="*/ 765969 h 1531937"/>
              <a:gd name="connsiteX3" fmla="*/ 765969 w 1531937"/>
              <a:gd name="connsiteY3" fmla="*/ 1531938 h 1531937"/>
              <a:gd name="connsiteX4" fmla="*/ 0 w 1531937"/>
              <a:gd name="connsiteY4" fmla="*/ 765969 h 153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1937" h="1531937">
                <a:moveTo>
                  <a:pt x="0" y="765969"/>
                </a:moveTo>
                <a:cubicBezTo>
                  <a:pt x="0" y="342936"/>
                  <a:pt x="342936" y="0"/>
                  <a:pt x="765969" y="0"/>
                </a:cubicBezTo>
                <a:cubicBezTo>
                  <a:pt x="1189002" y="0"/>
                  <a:pt x="1531938" y="342936"/>
                  <a:pt x="1531938" y="765969"/>
                </a:cubicBezTo>
                <a:cubicBezTo>
                  <a:pt x="1531938" y="1189002"/>
                  <a:pt x="1189002" y="1531938"/>
                  <a:pt x="765969" y="1531938"/>
                </a:cubicBezTo>
                <a:cubicBezTo>
                  <a:pt x="342936" y="1531938"/>
                  <a:pt x="0" y="1189002"/>
                  <a:pt x="0" y="765969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rgbClr val="4890E4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800" tIns="10800" rIns="10800" bIns="10800" numCol="1" spcCol="1270" anchor="ctr" anchorCtr="0">
            <a:noAutofit/>
          </a:bodyPr>
          <a:lstStyle/>
          <a:p>
            <a:pPr lvl="0" algn="ctr" defTabSz="1422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IN" sz="1800" b="1" kern="1200" dirty="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Job</a:t>
            </a: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Arial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4C42D139-C80B-42CA-8433-FB46085548C2}"/>
              </a:ext>
            </a:extLst>
          </p:cNvPr>
          <p:cNvSpPr>
            <a:spLocks noChangeAspect="1"/>
          </p:cNvSpPr>
          <p:nvPr/>
        </p:nvSpPr>
        <p:spPr>
          <a:xfrm>
            <a:off x="7074799" y="4452689"/>
            <a:ext cx="1531937" cy="1531937"/>
          </a:xfrm>
          <a:custGeom>
            <a:avLst/>
            <a:gdLst>
              <a:gd name="connsiteX0" fmla="*/ 0 w 1531937"/>
              <a:gd name="connsiteY0" fmla="*/ 765969 h 1531937"/>
              <a:gd name="connsiteX1" fmla="*/ 765969 w 1531937"/>
              <a:gd name="connsiteY1" fmla="*/ 0 h 1531937"/>
              <a:gd name="connsiteX2" fmla="*/ 1531938 w 1531937"/>
              <a:gd name="connsiteY2" fmla="*/ 765969 h 1531937"/>
              <a:gd name="connsiteX3" fmla="*/ 765969 w 1531937"/>
              <a:gd name="connsiteY3" fmla="*/ 1531938 h 1531937"/>
              <a:gd name="connsiteX4" fmla="*/ 0 w 1531937"/>
              <a:gd name="connsiteY4" fmla="*/ 765969 h 153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1937" h="1531937">
                <a:moveTo>
                  <a:pt x="0" y="765969"/>
                </a:moveTo>
                <a:cubicBezTo>
                  <a:pt x="0" y="342936"/>
                  <a:pt x="342936" y="0"/>
                  <a:pt x="765969" y="0"/>
                </a:cubicBezTo>
                <a:cubicBezTo>
                  <a:pt x="1189002" y="0"/>
                  <a:pt x="1531938" y="342936"/>
                  <a:pt x="1531938" y="765969"/>
                </a:cubicBezTo>
                <a:cubicBezTo>
                  <a:pt x="1531938" y="1189002"/>
                  <a:pt x="1189002" y="1531938"/>
                  <a:pt x="765969" y="1531938"/>
                </a:cubicBezTo>
                <a:cubicBezTo>
                  <a:pt x="342936" y="1531938"/>
                  <a:pt x="0" y="1189002"/>
                  <a:pt x="0" y="765969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rgbClr val="5A5A5A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800" tIns="10800" rIns="10800" bIns="10800" numCol="1" spcCol="1270" anchor="ctr" anchorCtr="0">
            <a:noAutofit/>
          </a:bodyPr>
          <a:lstStyle/>
          <a:p>
            <a:pPr lvl="0" algn="ctr" defTabSz="1422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IN" sz="1800" b="1" kern="1200" dirty="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tages</a:t>
            </a: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Arial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7542B966-4185-4CAA-800B-9B7CD5D3CD80}"/>
              </a:ext>
            </a:extLst>
          </p:cNvPr>
          <p:cNvSpPr>
            <a:spLocks noChangeAspect="1"/>
          </p:cNvSpPr>
          <p:nvPr/>
        </p:nvSpPr>
        <p:spPr>
          <a:xfrm>
            <a:off x="3585264" y="4452689"/>
            <a:ext cx="1531937" cy="1531937"/>
          </a:xfrm>
          <a:custGeom>
            <a:avLst/>
            <a:gdLst>
              <a:gd name="connsiteX0" fmla="*/ 0 w 1531937"/>
              <a:gd name="connsiteY0" fmla="*/ 765969 h 1531937"/>
              <a:gd name="connsiteX1" fmla="*/ 765969 w 1531937"/>
              <a:gd name="connsiteY1" fmla="*/ 0 h 1531937"/>
              <a:gd name="connsiteX2" fmla="*/ 1531938 w 1531937"/>
              <a:gd name="connsiteY2" fmla="*/ 765969 h 1531937"/>
              <a:gd name="connsiteX3" fmla="*/ 765969 w 1531937"/>
              <a:gd name="connsiteY3" fmla="*/ 1531938 h 1531937"/>
              <a:gd name="connsiteX4" fmla="*/ 0 w 1531937"/>
              <a:gd name="connsiteY4" fmla="*/ 765969 h 153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1937" h="1531937">
                <a:moveTo>
                  <a:pt x="0" y="765969"/>
                </a:moveTo>
                <a:cubicBezTo>
                  <a:pt x="0" y="342936"/>
                  <a:pt x="342936" y="0"/>
                  <a:pt x="765969" y="0"/>
                </a:cubicBezTo>
                <a:cubicBezTo>
                  <a:pt x="1189002" y="0"/>
                  <a:pt x="1531938" y="342936"/>
                  <a:pt x="1531938" y="765969"/>
                </a:cubicBezTo>
                <a:cubicBezTo>
                  <a:pt x="1531938" y="1189002"/>
                  <a:pt x="1189002" y="1531938"/>
                  <a:pt x="765969" y="1531938"/>
                </a:cubicBezTo>
                <a:cubicBezTo>
                  <a:pt x="342936" y="1531938"/>
                  <a:pt x="0" y="1189002"/>
                  <a:pt x="0" y="765969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rgbClr val="23AE73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800" tIns="10800" rIns="10800" bIns="10800" numCol="1" spcCol="1270" anchor="ctr" anchorCtr="0">
            <a:noAutofit/>
          </a:bodyPr>
          <a:lstStyle/>
          <a:p>
            <a:pPr lvl="0" algn="ctr" defTabSz="1422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IN" sz="1800" b="1" kern="1200" dirty="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ask</a:t>
            </a: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Arial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CE578042-3B87-4EEE-9B38-DA6307C35DD1}"/>
              </a:ext>
            </a:extLst>
          </p:cNvPr>
          <p:cNvSpPr>
            <a:spLocks noChangeAspect="1"/>
          </p:cNvSpPr>
          <p:nvPr/>
        </p:nvSpPr>
        <p:spPr>
          <a:xfrm>
            <a:off x="3585264" y="1292475"/>
            <a:ext cx="1531937" cy="1531937"/>
          </a:xfrm>
          <a:custGeom>
            <a:avLst/>
            <a:gdLst>
              <a:gd name="connsiteX0" fmla="*/ 0 w 1531937"/>
              <a:gd name="connsiteY0" fmla="*/ 765969 h 1531937"/>
              <a:gd name="connsiteX1" fmla="*/ 765969 w 1531937"/>
              <a:gd name="connsiteY1" fmla="*/ 0 h 1531937"/>
              <a:gd name="connsiteX2" fmla="*/ 1531938 w 1531937"/>
              <a:gd name="connsiteY2" fmla="*/ 765969 h 1531937"/>
              <a:gd name="connsiteX3" fmla="*/ 765969 w 1531937"/>
              <a:gd name="connsiteY3" fmla="*/ 1531938 h 1531937"/>
              <a:gd name="connsiteX4" fmla="*/ 0 w 1531937"/>
              <a:gd name="connsiteY4" fmla="*/ 765969 h 153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1937" h="1531937">
                <a:moveTo>
                  <a:pt x="0" y="765969"/>
                </a:moveTo>
                <a:cubicBezTo>
                  <a:pt x="0" y="342936"/>
                  <a:pt x="342936" y="0"/>
                  <a:pt x="765969" y="0"/>
                </a:cubicBezTo>
                <a:cubicBezTo>
                  <a:pt x="1189002" y="0"/>
                  <a:pt x="1531938" y="342936"/>
                  <a:pt x="1531938" y="765969"/>
                </a:cubicBezTo>
                <a:cubicBezTo>
                  <a:pt x="1531938" y="1189002"/>
                  <a:pt x="1189002" y="1531938"/>
                  <a:pt x="765969" y="1531938"/>
                </a:cubicBezTo>
                <a:cubicBezTo>
                  <a:pt x="342936" y="1531938"/>
                  <a:pt x="0" y="1189002"/>
                  <a:pt x="0" y="765969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rgbClr val="F4AB35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800" tIns="10800" rIns="10800" bIns="10800" numCol="1" spcCol="1270" anchor="ctr" anchorCtr="0">
            <a:noAutofit/>
          </a:bodyPr>
          <a:lstStyle/>
          <a:p>
            <a:pPr lvl="0" algn="ctr" defTabSz="2889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800" b="1" kern="1200" dirty="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pplicatio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Arial"/>
            </a:endParaRP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E1591B23-10A5-4AD0-8BBC-1ECA7CD6C7D8}"/>
              </a:ext>
            </a:extLst>
          </p:cNvPr>
          <p:cNvCxnSpPr>
            <a:cxnSpLocks/>
          </p:cNvCxnSpPr>
          <p:nvPr/>
        </p:nvCxnSpPr>
        <p:spPr>
          <a:xfrm flipV="1">
            <a:off x="6821432" y="2667000"/>
            <a:ext cx="322318" cy="370287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9B30FEC0-B85C-492C-BE90-3DAAA2D5B1F8}"/>
              </a:ext>
            </a:extLst>
          </p:cNvPr>
          <p:cNvCxnSpPr>
            <a:cxnSpLocks/>
          </p:cNvCxnSpPr>
          <p:nvPr/>
        </p:nvCxnSpPr>
        <p:spPr>
          <a:xfrm>
            <a:off x="6896100" y="4171950"/>
            <a:ext cx="266700" cy="361950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F3F5F04F-DF62-450D-9E3F-8FD627ADFECA}"/>
              </a:ext>
            </a:extLst>
          </p:cNvPr>
          <p:cNvCxnSpPr>
            <a:cxnSpLocks/>
          </p:cNvCxnSpPr>
          <p:nvPr/>
        </p:nvCxnSpPr>
        <p:spPr>
          <a:xfrm flipH="1">
            <a:off x="5025424" y="4240091"/>
            <a:ext cx="387846" cy="408806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EF920EA7-CB9E-4ECA-A0BE-E6F323382002}"/>
              </a:ext>
            </a:extLst>
          </p:cNvPr>
          <p:cNvCxnSpPr>
            <a:cxnSpLocks/>
          </p:cNvCxnSpPr>
          <p:nvPr/>
        </p:nvCxnSpPr>
        <p:spPr>
          <a:xfrm flipH="1" flipV="1">
            <a:off x="4902740" y="2747345"/>
            <a:ext cx="406524" cy="289942"/>
          </a:xfrm>
          <a:prstGeom prst="straightConnector1">
            <a:avLst/>
          </a:prstGeom>
          <a:ln w="28575">
            <a:solidFill>
              <a:schemeClr val="tx2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Google Shape;455;p36">
            <a:extLst>
              <a:ext uri="{FF2B5EF4-FFF2-40B4-BE49-F238E27FC236}">
                <a16:creationId xmlns:a16="http://schemas.microsoft.com/office/drawing/2014/main" id="{7209F53A-2200-451E-8414-24211D6D6FA1}"/>
              </a:ext>
            </a:extLst>
          </p:cNvPr>
          <p:cNvSpPr txBox="1"/>
          <p:nvPr/>
        </p:nvSpPr>
        <p:spPr>
          <a:xfrm>
            <a:off x="8786715" y="1466466"/>
            <a:ext cx="2794467" cy="1183955"/>
          </a:xfrm>
          <a:prstGeom prst="roundRect">
            <a:avLst>
              <a:gd name="adj" fmla="val 11722"/>
            </a:avLst>
          </a:prstGeom>
          <a:noFill/>
          <a:ln w="9525">
            <a:solidFill>
              <a:schemeClr val="tx2">
                <a:lumMod val="50000"/>
              </a:schemeClr>
            </a:solidFill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rPr>
              <a:t>It is the work submitted, which is created when an action is called.</a:t>
            </a:r>
          </a:p>
        </p:txBody>
      </p:sp>
      <p:sp>
        <p:nvSpPr>
          <p:cNvPr id="31" name="Google Shape;455;p36">
            <a:extLst>
              <a:ext uri="{FF2B5EF4-FFF2-40B4-BE49-F238E27FC236}">
                <a16:creationId xmlns:a16="http://schemas.microsoft.com/office/drawing/2014/main" id="{96877242-A0A3-41C1-9FDB-4FC761BCC992}"/>
              </a:ext>
            </a:extLst>
          </p:cNvPr>
          <p:cNvSpPr txBox="1"/>
          <p:nvPr/>
        </p:nvSpPr>
        <p:spPr>
          <a:xfrm>
            <a:off x="8786715" y="4626680"/>
            <a:ext cx="2794467" cy="1183955"/>
          </a:xfrm>
          <a:prstGeom prst="roundRect">
            <a:avLst>
              <a:gd name="adj" fmla="val 11722"/>
            </a:avLst>
          </a:prstGeom>
          <a:noFill/>
          <a:ln w="9525">
            <a:solidFill>
              <a:schemeClr val="tx2">
                <a:lumMod val="50000"/>
              </a:schemeClr>
            </a:solidFill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rPr>
              <a:t>A job contains multiple stages. Each time a shuffle happens, a new stage is created.</a:t>
            </a:r>
          </a:p>
        </p:txBody>
      </p:sp>
      <p:sp>
        <p:nvSpPr>
          <p:cNvPr id="33" name="Google Shape;455;p36">
            <a:extLst>
              <a:ext uri="{FF2B5EF4-FFF2-40B4-BE49-F238E27FC236}">
                <a16:creationId xmlns:a16="http://schemas.microsoft.com/office/drawing/2014/main" id="{979941BC-3870-465B-9757-CC112DF99688}"/>
              </a:ext>
            </a:extLst>
          </p:cNvPr>
          <p:cNvSpPr txBox="1"/>
          <p:nvPr/>
        </p:nvSpPr>
        <p:spPr>
          <a:xfrm>
            <a:off x="623392" y="1466466"/>
            <a:ext cx="2794467" cy="1183955"/>
          </a:xfrm>
          <a:prstGeom prst="roundRect">
            <a:avLst>
              <a:gd name="adj" fmla="val 11722"/>
            </a:avLst>
          </a:prstGeom>
          <a:noFill/>
          <a:ln w="9525">
            <a:solidFill>
              <a:schemeClr val="tx2">
                <a:lumMod val="50000"/>
              </a:schemeClr>
            </a:solidFill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rPr>
              <a:t>It is the main function, where the code is present.</a:t>
            </a:r>
          </a:p>
        </p:txBody>
      </p:sp>
      <p:sp>
        <p:nvSpPr>
          <p:cNvPr id="35" name="Google Shape;455;p36">
            <a:extLst>
              <a:ext uri="{FF2B5EF4-FFF2-40B4-BE49-F238E27FC236}">
                <a16:creationId xmlns:a16="http://schemas.microsoft.com/office/drawing/2014/main" id="{324C0BC2-693D-45DE-B12E-74D0D8CAEE48}"/>
              </a:ext>
            </a:extLst>
          </p:cNvPr>
          <p:cNvSpPr txBox="1"/>
          <p:nvPr/>
        </p:nvSpPr>
        <p:spPr>
          <a:xfrm>
            <a:off x="623392" y="4626680"/>
            <a:ext cx="2794467" cy="1183955"/>
          </a:xfrm>
          <a:prstGeom prst="roundRect">
            <a:avLst>
              <a:gd name="adj" fmla="val 11722"/>
            </a:avLst>
          </a:prstGeom>
          <a:noFill/>
          <a:ln w="9525">
            <a:solidFill>
              <a:schemeClr val="tx2">
                <a:lumMod val="50000"/>
              </a:schemeClr>
            </a:solidFill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rPr>
              <a:t>Each stage consists of multiple tasks. It is the smallest unit of work.</a:t>
            </a:r>
          </a:p>
        </p:txBody>
      </p:sp>
    </p:spTree>
    <p:extLst>
      <p:ext uri="{BB962C8B-B14F-4D97-AF65-F5344CB8AC3E}">
        <p14:creationId xmlns:p14="http://schemas.microsoft.com/office/powerpoint/2010/main" val="1015094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2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6000"/>
                            </p:stCondLst>
                            <p:childTnLst>
                              <p:par>
                                <p:cTn id="5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8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8" grpId="1" animBg="1"/>
      <p:bldP spid="32" grpId="0" animBg="1"/>
      <p:bldP spid="32" grpId="1" animBg="1"/>
      <p:bldP spid="36" grpId="0" animBg="1"/>
      <p:bldP spid="36" grpId="1" animBg="1"/>
      <p:bldP spid="38" grpId="0" animBg="1"/>
      <p:bldP spid="38" grpId="1" animBg="1"/>
      <p:bldP spid="40" grpId="0" animBg="1"/>
      <p:bldP spid="40" grpId="1" animBg="1"/>
      <p:bldP spid="42" grpId="0" animBg="1"/>
      <p:bldP spid="42" grpId="1" animBg="1"/>
      <p:bldP spid="30" grpId="0" animBg="1"/>
      <p:bldP spid="30" grpId="1" animBg="1"/>
      <p:bldP spid="31" grpId="0" animBg="1"/>
      <p:bldP spid="31" grpId="1" animBg="1"/>
      <p:bldP spid="33" grpId="0" animBg="1"/>
      <p:bldP spid="33" grpId="1" animBg="1"/>
      <p:bldP spid="35" grpId="0" animBg="1"/>
      <p:bldP spid="35" grpId="1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55;p36">
            <a:extLst>
              <a:ext uri="{FF2B5EF4-FFF2-40B4-BE49-F238E27FC236}">
                <a16:creationId xmlns:a16="http://schemas.microsoft.com/office/drawing/2014/main" id="{B5D3FA6E-B086-49C1-ACE7-CE79D810C4AD}"/>
              </a:ext>
            </a:extLst>
          </p:cNvPr>
          <p:cNvSpPr txBox="1"/>
          <p:nvPr/>
        </p:nvSpPr>
        <p:spPr>
          <a:xfrm>
            <a:off x="1460754" y="908720"/>
            <a:ext cx="9270495" cy="5544615"/>
          </a:xfrm>
          <a:prstGeom prst="roundRect">
            <a:avLst>
              <a:gd name="adj" fmla="val 2576"/>
            </a:avLst>
          </a:prstGeom>
          <a:noFill/>
          <a:ln w="28575">
            <a:solidFill>
              <a:srgbClr val="F4AB35"/>
            </a:solidFill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algn="ctr"/>
            <a:endParaRPr lang="en-US" sz="1800" dirty="0">
              <a:solidFill>
                <a:schemeClr val="tx1"/>
              </a:solidFill>
              <a:latin typeface="Lato"/>
              <a:ea typeface="Lato"/>
              <a:cs typeface="Lato"/>
              <a:sym typeface="Lato"/>
            </a:endParaRPr>
          </a:p>
        </p:txBody>
      </p:sp>
      <p:pic>
        <p:nvPicPr>
          <p:cNvPr id="597" name="Google Shape;597;p39"/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685538" y="1203661"/>
            <a:ext cx="8820926" cy="4954733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Heading">
            <a:extLst>
              <a:ext uri="{FF2B5EF4-FFF2-40B4-BE49-F238E27FC236}">
                <a16:creationId xmlns:a16="http://schemas.microsoft.com/office/drawing/2014/main" id="{C541242C-1346-4F6A-B0CC-753F7041DD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PONENTS OF A SPARK JOB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59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4" grpId="0" animBg="1"/>
      <p:bldP spid="4" grpId="1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Heading">
            <a:extLst>
              <a:ext uri="{FF2B5EF4-FFF2-40B4-BE49-F238E27FC236}">
                <a16:creationId xmlns:a16="http://schemas.microsoft.com/office/drawing/2014/main" id="{6CF95CD9-7718-403E-A05C-2AFF4C48D8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Y OPTIMISE A SPARK JOB?</a:t>
            </a:r>
          </a:p>
        </p:txBody>
      </p:sp>
      <p:grpSp>
        <p:nvGrpSpPr>
          <p:cNvPr id="40" name="Green Point">
            <a:extLst>
              <a:ext uri="{FF2B5EF4-FFF2-40B4-BE49-F238E27FC236}">
                <a16:creationId xmlns:a16="http://schemas.microsoft.com/office/drawing/2014/main" id="{68D77C84-A37F-4D76-8B33-A9BF14954E27}"/>
              </a:ext>
            </a:extLst>
          </p:cNvPr>
          <p:cNvGrpSpPr/>
          <p:nvPr/>
        </p:nvGrpSpPr>
        <p:grpSpPr>
          <a:xfrm>
            <a:off x="2640563" y="5013176"/>
            <a:ext cx="6910875" cy="1134001"/>
            <a:chOff x="6389225" y="1006997"/>
            <a:chExt cx="4726281" cy="775532"/>
          </a:xfrm>
        </p:grpSpPr>
        <p:sp>
          <p:nvSpPr>
            <p:cNvPr id="41" name="Rectangle: Rounded Corners 8">
              <a:extLst>
                <a:ext uri="{FF2B5EF4-FFF2-40B4-BE49-F238E27FC236}">
                  <a16:creationId xmlns:a16="http://schemas.microsoft.com/office/drawing/2014/main" id="{CF066C89-6522-453B-BB17-73A3208819C3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44233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12270" y="4685"/>
                    <a:pt x="244233" y="4685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23AE7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tangle: Rounded Corners 8">
              <a:extLst>
                <a:ext uri="{FF2B5EF4-FFF2-40B4-BE49-F238E27FC236}">
                  <a16:creationId xmlns:a16="http://schemas.microsoft.com/office/drawing/2014/main" id="{2E57560C-6423-4B9F-9B38-E2511E400F22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0A08CC07-D2F2-443B-96BA-1C478CA1D78E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4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4" name="Yellow Q">
              <a:extLst>
                <a:ext uri="{FF2B5EF4-FFF2-40B4-BE49-F238E27FC236}">
                  <a16:creationId xmlns:a16="http://schemas.microsoft.com/office/drawing/2014/main" id="{C5BA0F78-10D6-4942-8ACD-FE4930A73D41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From the maintainability point of view</a:t>
              </a:r>
            </a:p>
          </p:txBody>
        </p:sp>
      </p:grpSp>
      <p:grpSp>
        <p:nvGrpSpPr>
          <p:cNvPr id="45" name="Grey Point">
            <a:extLst>
              <a:ext uri="{FF2B5EF4-FFF2-40B4-BE49-F238E27FC236}">
                <a16:creationId xmlns:a16="http://schemas.microsoft.com/office/drawing/2014/main" id="{E40C2C66-B302-4E73-930F-FAEB8BF3FB3B}"/>
              </a:ext>
            </a:extLst>
          </p:cNvPr>
          <p:cNvGrpSpPr/>
          <p:nvPr/>
        </p:nvGrpSpPr>
        <p:grpSpPr>
          <a:xfrm>
            <a:off x="2640563" y="3706359"/>
            <a:ext cx="6910875" cy="1134001"/>
            <a:chOff x="6389225" y="1006997"/>
            <a:chExt cx="4726281" cy="775532"/>
          </a:xfrm>
        </p:grpSpPr>
        <p:sp>
          <p:nvSpPr>
            <p:cNvPr id="46" name="Rectangle: Rounded Corners 8">
              <a:extLst>
                <a:ext uri="{FF2B5EF4-FFF2-40B4-BE49-F238E27FC236}">
                  <a16:creationId xmlns:a16="http://schemas.microsoft.com/office/drawing/2014/main" id="{F7190C59-4C7F-4A82-AD64-D2AE1BBF8B3F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32581 w 4726281"/>
                <a:gd name="connsiteY1" fmla="*/ 3056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00618" y="3056"/>
                    <a:pt x="232581" y="3056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5A5A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Rectangle: Rounded Corners 8">
              <a:extLst>
                <a:ext uri="{FF2B5EF4-FFF2-40B4-BE49-F238E27FC236}">
                  <a16:creationId xmlns:a16="http://schemas.microsoft.com/office/drawing/2014/main" id="{B09E795D-B816-4E86-8864-40EFD5D988C3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4113DFD-F6C5-4B76-88E6-F3A5FA090533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3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9" name="Yellow Q">
              <a:extLst>
                <a:ext uri="{FF2B5EF4-FFF2-40B4-BE49-F238E27FC236}">
                  <a16:creationId xmlns:a16="http://schemas.microsoft.com/office/drawing/2014/main" id="{7CDD47B4-913F-4885-8B4E-EE0CA98C2FE3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From the scalability point of view</a:t>
              </a:r>
            </a:p>
          </p:txBody>
        </p:sp>
      </p:grpSp>
      <p:grpSp>
        <p:nvGrpSpPr>
          <p:cNvPr id="50" name="Blue Point">
            <a:extLst>
              <a:ext uri="{FF2B5EF4-FFF2-40B4-BE49-F238E27FC236}">
                <a16:creationId xmlns:a16="http://schemas.microsoft.com/office/drawing/2014/main" id="{DC00584F-C2BC-4815-8840-A6BB4DC1C67C}"/>
              </a:ext>
            </a:extLst>
          </p:cNvPr>
          <p:cNvGrpSpPr/>
          <p:nvPr/>
        </p:nvGrpSpPr>
        <p:grpSpPr>
          <a:xfrm>
            <a:off x="2640563" y="2399540"/>
            <a:ext cx="6910875" cy="1134002"/>
            <a:chOff x="6389225" y="1006997"/>
            <a:chExt cx="4726281" cy="775533"/>
          </a:xfrm>
        </p:grpSpPr>
        <p:sp>
          <p:nvSpPr>
            <p:cNvPr id="51" name="Rectangle: Rounded Corners 8">
              <a:extLst>
                <a:ext uri="{FF2B5EF4-FFF2-40B4-BE49-F238E27FC236}">
                  <a16:creationId xmlns:a16="http://schemas.microsoft.com/office/drawing/2014/main" id="{DE9FEEB4-1A16-42F7-B487-B989E5704C8E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8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104464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44233 w 4726281"/>
                <a:gd name="connsiteY1" fmla="*/ 3057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12270" y="3057"/>
                    <a:pt x="244233" y="3057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4890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tangle: Rounded Corners 8">
              <a:extLst>
                <a:ext uri="{FF2B5EF4-FFF2-40B4-BE49-F238E27FC236}">
                  <a16:creationId xmlns:a16="http://schemas.microsoft.com/office/drawing/2014/main" id="{69F5DD96-B815-49FC-BFE3-4BAF197D0810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4990A5FF-262F-4A3A-BD27-710648612A28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2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54" name="Yellow Q">
              <a:extLst>
                <a:ext uri="{FF2B5EF4-FFF2-40B4-BE49-F238E27FC236}">
                  <a16:creationId xmlns:a16="http://schemas.microsoft.com/office/drawing/2014/main" id="{164D947D-1E1C-4739-8531-F1A680DFA8A6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From the resource utilisation perspective</a:t>
              </a:r>
            </a:p>
          </p:txBody>
        </p:sp>
      </p:grpSp>
      <p:grpSp>
        <p:nvGrpSpPr>
          <p:cNvPr id="55" name="Yellow Point">
            <a:extLst>
              <a:ext uri="{FF2B5EF4-FFF2-40B4-BE49-F238E27FC236}">
                <a16:creationId xmlns:a16="http://schemas.microsoft.com/office/drawing/2014/main" id="{F1463A20-0957-46FB-965B-F9D51117C29E}"/>
              </a:ext>
            </a:extLst>
          </p:cNvPr>
          <p:cNvGrpSpPr/>
          <p:nvPr/>
        </p:nvGrpSpPr>
        <p:grpSpPr>
          <a:xfrm>
            <a:off x="2640563" y="1092722"/>
            <a:ext cx="6910875" cy="1134001"/>
            <a:chOff x="6389225" y="1006997"/>
            <a:chExt cx="4726281" cy="775532"/>
          </a:xfrm>
        </p:grpSpPr>
        <p:sp>
          <p:nvSpPr>
            <p:cNvPr id="56" name="Rectangle: Rounded Corners 8">
              <a:extLst>
                <a:ext uri="{FF2B5EF4-FFF2-40B4-BE49-F238E27FC236}">
                  <a16:creationId xmlns:a16="http://schemas.microsoft.com/office/drawing/2014/main" id="{D6BC1F1D-4ADB-42C0-8786-47DC2D861ED0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09294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177331" y="4685"/>
                    <a:pt x="209294" y="4685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F4AB3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Rectangle: Rounded Corners 8">
              <a:extLst>
                <a:ext uri="{FF2B5EF4-FFF2-40B4-BE49-F238E27FC236}">
                  <a16:creationId xmlns:a16="http://schemas.microsoft.com/office/drawing/2014/main" id="{8EDC7F6A-C3EB-452D-96F7-2AD9E240EE66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8E1AD6C5-DE5A-44A1-8415-C3C1CA9ED000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1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59" name="Yellow Q">
              <a:extLst>
                <a:ext uri="{FF2B5EF4-FFF2-40B4-BE49-F238E27FC236}">
                  <a16:creationId xmlns:a16="http://schemas.microsoft.com/office/drawing/2014/main" id="{5432D9B7-8272-4667-8737-B4E0186FC7F3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From the execution time perspective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19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Heading">
            <a:extLst>
              <a:ext uri="{FF2B5EF4-FFF2-40B4-BE49-F238E27FC236}">
                <a16:creationId xmlns:a16="http://schemas.microsoft.com/office/drawing/2014/main" id="{5075194C-B53E-4801-8B62-BFAFA882A1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Y PERFORMANCE METRICS IN A SPARK JOB</a:t>
            </a:r>
          </a:p>
        </p:txBody>
      </p:sp>
      <p:grpSp>
        <p:nvGrpSpPr>
          <p:cNvPr id="24" name="Green Point">
            <a:extLst>
              <a:ext uri="{FF2B5EF4-FFF2-40B4-BE49-F238E27FC236}">
                <a16:creationId xmlns:a16="http://schemas.microsoft.com/office/drawing/2014/main" id="{0D13FBDD-D766-4EBF-B492-4353E9705A39}"/>
              </a:ext>
            </a:extLst>
          </p:cNvPr>
          <p:cNvGrpSpPr/>
          <p:nvPr/>
        </p:nvGrpSpPr>
        <p:grpSpPr>
          <a:xfrm>
            <a:off x="2640563" y="5013176"/>
            <a:ext cx="6910875" cy="1134001"/>
            <a:chOff x="6389225" y="1006997"/>
            <a:chExt cx="4726281" cy="775532"/>
          </a:xfrm>
        </p:grpSpPr>
        <p:sp>
          <p:nvSpPr>
            <p:cNvPr id="25" name="Rectangle: Rounded Corners 8">
              <a:extLst>
                <a:ext uri="{FF2B5EF4-FFF2-40B4-BE49-F238E27FC236}">
                  <a16:creationId xmlns:a16="http://schemas.microsoft.com/office/drawing/2014/main" id="{E8CB40D1-12AF-49AC-ACB0-E5D625AF5B5F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44233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12270" y="4685"/>
                    <a:pt x="244233" y="4685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23AE7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Rectangle: Rounded Corners 8">
              <a:extLst>
                <a:ext uri="{FF2B5EF4-FFF2-40B4-BE49-F238E27FC236}">
                  <a16:creationId xmlns:a16="http://schemas.microsoft.com/office/drawing/2014/main" id="{1B5B0126-9EF4-43C9-84FC-4B8654CFC294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D424D13-D881-4558-9660-FF36BB75A7EF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4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28" name="Yellow Q">
              <a:extLst>
                <a:ext uri="{FF2B5EF4-FFF2-40B4-BE49-F238E27FC236}">
                  <a16:creationId xmlns:a16="http://schemas.microsoft.com/office/drawing/2014/main" id="{3347E015-F7AB-43A9-BB7D-CD3930C31084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Detailed information about running executors</a:t>
              </a:r>
            </a:p>
          </p:txBody>
        </p:sp>
      </p:grpSp>
      <p:grpSp>
        <p:nvGrpSpPr>
          <p:cNvPr id="29" name="Grey Point">
            <a:extLst>
              <a:ext uri="{FF2B5EF4-FFF2-40B4-BE49-F238E27FC236}">
                <a16:creationId xmlns:a16="http://schemas.microsoft.com/office/drawing/2014/main" id="{5A642BAA-2BA1-485B-979C-8238073B22BE}"/>
              </a:ext>
            </a:extLst>
          </p:cNvPr>
          <p:cNvGrpSpPr/>
          <p:nvPr/>
        </p:nvGrpSpPr>
        <p:grpSpPr>
          <a:xfrm>
            <a:off x="2640563" y="3706359"/>
            <a:ext cx="6910875" cy="1134001"/>
            <a:chOff x="6389225" y="1006997"/>
            <a:chExt cx="4726281" cy="775532"/>
          </a:xfrm>
        </p:grpSpPr>
        <p:sp>
          <p:nvSpPr>
            <p:cNvPr id="30" name="Rectangle: Rounded Corners 8">
              <a:extLst>
                <a:ext uri="{FF2B5EF4-FFF2-40B4-BE49-F238E27FC236}">
                  <a16:creationId xmlns:a16="http://schemas.microsoft.com/office/drawing/2014/main" id="{7E0AF8FD-3281-4C2B-822A-9A5E8DADDC8D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32581 w 4726281"/>
                <a:gd name="connsiteY1" fmla="*/ 3056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00618" y="3056"/>
                    <a:pt x="232581" y="3056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5A5A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: Rounded Corners 8">
              <a:extLst>
                <a:ext uri="{FF2B5EF4-FFF2-40B4-BE49-F238E27FC236}">
                  <a16:creationId xmlns:a16="http://schemas.microsoft.com/office/drawing/2014/main" id="{1A87C620-2D56-4852-9B18-C37C0D863675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7B9C2EAE-383B-49B6-8EB3-6EB650003481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3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3" name="Yellow Q">
              <a:extLst>
                <a:ext uri="{FF2B5EF4-FFF2-40B4-BE49-F238E27FC236}">
                  <a16:creationId xmlns:a16="http://schemas.microsoft.com/office/drawing/2014/main" id="{7D5C157E-499A-4228-BC8D-61E1EF564814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Spark environment information</a:t>
              </a:r>
            </a:p>
          </p:txBody>
        </p:sp>
      </p:grpSp>
      <p:grpSp>
        <p:nvGrpSpPr>
          <p:cNvPr id="34" name="Blue Point">
            <a:extLst>
              <a:ext uri="{FF2B5EF4-FFF2-40B4-BE49-F238E27FC236}">
                <a16:creationId xmlns:a16="http://schemas.microsoft.com/office/drawing/2014/main" id="{E23F55DE-22AB-4F9B-9230-80FEF3CF80F9}"/>
              </a:ext>
            </a:extLst>
          </p:cNvPr>
          <p:cNvGrpSpPr/>
          <p:nvPr/>
        </p:nvGrpSpPr>
        <p:grpSpPr>
          <a:xfrm>
            <a:off x="2640563" y="2399540"/>
            <a:ext cx="6910875" cy="1134002"/>
            <a:chOff x="6389225" y="1006997"/>
            <a:chExt cx="4726281" cy="775533"/>
          </a:xfrm>
        </p:grpSpPr>
        <p:sp>
          <p:nvSpPr>
            <p:cNvPr id="35" name="Rectangle: Rounded Corners 8">
              <a:extLst>
                <a:ext uri="{FF2B5EF4-FFF2-40B4-BE49-F238E27FC236}">
                  <a16:creationId xmlns:a16="http://schemas.microsoft.com/office/drawing/2014/main" id="{4D5CB536-5DC5-4A5B-9A48-B4AACA743600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8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104464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44233 w 4726281"/>
                <a:gd name="connsiteY1" fmla="*/ 3057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212270" y="3057"/>
                    <a:pt x="244233" y="3057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4890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Rectangle: Rounded Corners 8">
              <a:extLst>
                <a:ext uri="{FF2B5EF4-FFF2-40B4-BE49-F238E27FC236}">
                  <a16:creationId xmlns:a16="http://schemas.microsoft.com/office/drawing/2014/main" id="{10C7DD2A-659A-4856-ABC2-05BA6CE3B30E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88E5C11-EF71-4994-ADC0-3965DFCA9ECF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2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8" name="Yellow Q">
              <a:extLst>
                <a:ext uri="{FF2B5EF4-FFF2-40B4-BE49-F238E27FC236}">
                  <a16:creationId xmlns:a16="http://schemas.microsoft.com/office/drawing/2014/main" id="{BB1836A4-0823-44EF-AF37-54E9B85576D4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DD - memory imprint and usage</a:t>
              </a:r>
            </a:p>
          </p:txBody>
        </p:sp>
      </p:grpSp>
      <p:grpSp>
        <p:nvGrpSpPr>
          <p:cNvPr id="39" name="Yellow Point">
            <a:extLst>
              <a:ext uri="{FF2B5EF4-FFF2-40B4-BE49-F238E27FC236}">
                <a16:creationId xmlns:a16="http://schemas.microsoft.com/office/drawing/2014/main" id="{8F1191D8-63DC-47CD-8F79-F99B58535A94}"/>
              </a:ext>
            </a:extLst>
          </p:cNvPr>
          <p:cNvGrpSpPr/>
          <p:nvPr/>
        </p:nvGrpSpPr>
        <p:grpSpPr>
          <a:xfrm>
            <a:off x="2640563" y="1092722"/>
            <a:ext cx="6910875" cy="1134001"/>
            <a:chOff x="6389225" y="1006997"/>
            <a:chExt cx="4726281" cy="775532"/>
          </a:xfrm>
        </p:grpSpPr>
        <p:sp>
          <p:nvSpPr>
            <p:cNvPr id="40" name="Rectangle: Rounded Corners 8">
              <a:extLst>
                <a:ext uri="{FF2B5EF4-FFF2-40B4-BE49-F238E27FC236}">
                  <a16:creationId xmlns:a16="http://schemas.microsoft.com/office/drawing/2014/main" id="{45E5D519-AD4A-43A4-86FC-C72276816570}"/>
                </a:ext>
              </a:extLst>
            </p:cNvPr>
            <p:cNvSpPr>
              <a:spLocks/>
            </p:cNvSpPr>
            <p:nvPr/>
          </p:nvSpPr>
          <p:spPr>
            <a:xfrm>
              <a:off x="6389225" y="1006997"/>
              <a:ext cx="660817" cy="775532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664596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45712"/>
                <a:gd name="connsiteY0" fmla="*/ 57875 h 774635"/>
                <a:gd name="connsiteX1" fmla="*/ 57875 w 4745712"/>
                <a:gd name="connsiteY1" fmla="*/ 0 h 774635"/>
                <a:gd name="connsiteX2" fmla="*/ 4726281 w 4745712"/>
                <a:gd name="connsiteY2" fmla="*/ 12155 h 774635"/>
                <a:gd name="connsiteX3" fmla="*/ 4745712 w 4745712"/>
                <a:gd name="connsiteY3" fmla="*/ 763930 h 774635"/>
                <a:gd name="connsiteX4" fmla="*/ 0 w 4745712"/>
                <a:gd name="connsiteY4" fmla="*/ 774635 h 774635"/>
                <a:gd name="connsiteX5" fmla="*/ 0 w 4745712"/>
                <a:gd name="connsiteY5" fmla="*/ 57875 h 774635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965 w 4726281"/>
                <a:gd name="connsiteY3" fmla="*/ 763930 h 774635"/>
                <a:gd name="connsiteX4" fmla="*/ 0 w 4726281"/>
                <a:gd name="connsiteY4" fmla="*/ 774635 h 774635"/>
                <a:gd name="connsiteX5" fmla="*/ 0 w 4726281"/>
                <a:gd name="connsiteY5" fmla="*/ 57875 h 774635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71872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57875 w 4726281"/>
                <a:gd name="connsiteY1" fmla="*/ 7942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  <a:gd name="connsiteX0" fmla="*/ 0 w 4726281"/>
                <a:gd name="connsiteY0" fmla="*/ 65817 h 782577"/>
                <a:gd name="connsiteX1" fmla="*/ 209294 w 4726281"/>
                <a:gd name="connsiteY1" fmla="*/ 4685 h 782577"/>
                <a:gd name="connsiteX2" fmla="*/ 4726281 w 4726281"/>
                <a:gd name="connsiteY2" fmla="*/ 0 h 782577"/>
                <a:gd name="connsiteX3" fmla="*/ 4722965 w 4726281"/>
                <a:gd name="connsiteY3" fmla="*/ 781921 h 782577"/>
                <a:gd name="connsiteX4" fmla="*/ 0 w 4726281"/>
                <a:gd name="connsiteY4" fmla="*/ 782577 h 782577"/>
                <a:gd name="connsiteX5" fmla="*/ 0 w 4726281"/>
                <a:gd name="connsiteY5" fmla="*/ 65817 h 78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26281" h="782577">
                  <a:moveTo>
                    <a:pt x="0" y="65817"/>
                  </a:moveTo>
                  <a:cubicBezTo>
                    <a:pt x="0" y="33854"/>
                    <a:pt x="177331" y="4685"/>
                    <a:pt x="209294" y="4685"/>
                  </a:cubicBezTo>
                  <a:lnTo>
                    <a:pt x="4726281" y="0"/>
                  </a:lnTo>
                  <a:cubicBezTo>
                    <a:pt x="4725176" y="250592"/>
                    <a:pt x="4724070" y="531329"/>
                    <a:pt x="4722965" y="781921"/>
                  </a:cubicBezTo>
                  <a:lnTo>
                    <a:pt x="0" y="782577"/>
                  </a:lnTo>
                  <a:lnTo>
                    <a:pt x="0" y="65817"/>
                  </a:lnTo>
                  <a:close/>
                </a:path>
              </a:pathLst>
            </a:custGeom>
            <a:solidFill>
              <a:srgbClr val="F4AB3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Rectangle: Rounded Corners 8">
              <a:extLst>
                <a:ext uri="{FF2B5EF4-FFF2-40B4-BE49-F238E27FC236}">
                  <a16:creationId xmlns:a16="http://schemas.microsoft.com/office/drawing/2014/main" id="{53BBA83C-63DE-4DCF-B345-E70E188752D6}"/>
                </a:ext>
              </a:extLst>
            </p:cNvPr>
            <p:cNvSpPr/>
            <p:nvPr/>
          </p:nvSpPr>
          <p:spPr>
            <a:xfrm>
              <a:off x="6389225" y="1006997"/>
              <a:ext cx="4726281" cy="774635"/>
            </a:xfrm>
            <a:custGeom>
              <a:avLst/>
              <a:gdLst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664596 w 4722471"/>
                <a:gd name="connsiteY2" fmla="*/ 0 h 763930"/>
                <a:gd name="connsiteX3" fmla="*/ 4722471 w 4722471"/>
                <a:gd name="connsiteY3" fmla="*/ 57875 h 763930"/>
                <a:gd name="connsiteX4" fmla="*/ 4722471 w 4722471"/>
                <a:gd name="connsiteY4" fmla="*/ 706055 h 763930"/>
                <a:gd name="connsiteX5" fmla="*/ 4664596 w 4722471"/>
                <a:gd name="connsiteY5" fmla="*/ 763930 h 763930"/>
                <a:gd name="connsiteX6" fmla="*/ 57875 w 4722471"/>
                <a:gd name="connsiteY6" fmla="*/ 763930 h 763930"/>
                <a:gd name="connsiteX7" fmla="*/ 0 w 4722471"/>
                <a:gd name="connsiteY7" fmla="*/ 706055 h 763930"/>
                <a:gd name="connsiteX8" fmla="*/ 0 w 4722471"/>
                <a:gd name="connsiteY8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57875 w 4722471"/>
                <a:gd name="connsiteY5" fmla="*/ 763930 h 763930"/>
                <a:gd name="connsiteX6" fmla="*/ 0 w 4722471"/>
                <a:gd name="connsiteY6" fmla="*/ 706055 h 763930"/>
                <a:gd name="connsiteX7" fmla="*/ 0 w 4722471"/>
                <a:gd name="connsiteY7" fmla="*/ 57875 h 763930"/>
                <a:gd name="connsiteX0" fmla="*/ 0 w 4722471"/>
                <a:gd name="connsiteY0" fmla="*/ 57875 h 763930"/>
                <a:gd name="connsiteX1" fmla="*/ 57875 w 4722471"/>
                <a:gd name="connsiteY1" fmla="*/ 0 h 763930"/>
                <a:gd name="connsiteX2" fmla="*/ 4722471 w 4722471"/>
                <a:gd name="connsiteY2" fmla="*/ 57875 h 763930"/>
                <a:gd name="connsiteX3" fmla="*/ 4722471 w 4722471"/>
                <a:gd name="connsiteY3" fmla="*/ 706055 h 763930"/>
                <a:gd name="connsiteX4" fmla="*/ 4664596 w 4722471"/>
                <a:gd name="connsiteY4" fmla="*/ 763930 h 763930"/>
                <a:gd name="connsiteX5" fmla="*/ 0 w 4722471"/>
                <a:gd name="connsiteY5" fmla="*/ 706055 h 763930"/>
                <a:gd name="connsiteX6" fmla="*/ 0 w 4722471"/>
                <a:gd name="connsiteY6" fmla="*/ 57875 h 763930"/>
                <a:gd name="connsiteX0" fmla="*/ 0 w 4726281"/>
                <a:gd name="connsiteY0" fmla="*/ 57875 h 763930"/>
                <a:gd name="connsiteX1" fmla="*/ 57875 w 4726281"/>
                <a:gd name="connsiteY1" fmla="*/ 0 h 763930"/>
                <a:gd name="connsiteX2" fmla="*/ 4726281 w 4726281"/>
                <a:gd name="connsiteY2" fmla="*/ 12155 h 763930"/>
                <a:gd name="connsiteX3" fmla="*/ 4722471 w 4726281"/>
                <a:gd name="connsiteY3" fmla="*/ 706055 h 763930"/>
                <a:gd name="connsiteX4" fmla="*/ 4664596 w 4726281"/>
                <a:gd name="connsiteY4" fmla="*/ 763930 h 763930"/>
                <a:gd name="connsiteX5" fmla="*/ 0 w 4726281"/>
                <a:gd name="connsiteY5" fmla="*/ 706055 h 763930"/>
                <a:gd name="connsiteX6" fmla="*/ 0 w 4726281"/>
                <a:gd name="connsiteY6" fmla="*/ 57875 h 763930"/>
                <a:gd name="connsiteX0" fmla="*/ 0 w 4726281"/>
                <a:gd name="connsiteY0" fmla="*/ 57875 h 774635"/>
                <a:gd name="connsiteX1" fmla="*/ 57875 w 4726281"/>
                <a:gd name="connsiteY1" fmla="*/ 0 h 774635"/>
                <a:gd name="connsiteX2" fmla="*/ 4726281 w 4726281"/>
                <a:gd name="connsiteY2" fmla="*/ 12155 h 774635"/>
                <a:gd name="connsiteX3" fmla="*/ 4722471 w 4726281"/>
                <a:gd name="connsiteY3" fmla="*/ 706055 h 774635"/>
                <a:gd name="connsiteX4" fmla="*/ 4664596 w 4726281"/>
                <a:gd name="connsiteY4" fmla="*/ 763930 h 774635"/>
                <a:gd name="connsiteX5" fmla="*/ 0 w 4726281"/>
                <a:gd name="connsiteY5" fmla="*/ 774635 h 774635"/>
                <a:gd name="connsiteX6" fmla="*/ 0 w 4726281"/>
                <a:gd name="connsiteY6" fmla="*/ 57875 h 77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6281" h="774635">
                  <a:moveTo>
                    <a:pt x="0" y="57875"/>
                  </a:moveTo>
                  <a:cubicBezTo>
                    <a:pt x="0" y="25912"/>
                    <a:pt x="25912" y="0"/>
                    <a:pt x="57875" y="0"/>
                  </a:cubicBezTo>
                  <a:lnTo>
                    <a:pt x="4726281" y="12155"/>
                  </a:lnTo>
                  <a:lnTo>
                    <a:pt x="4722471" y="706055"/>
                  </a:lnTo>
                  <a:cubicBezTo>
                    <a:pt x="4722471" y="738018"/>
                    <a:pt x="4696559" y="763930"/>
                    <a:pt x="4664596" y="763930"/>
                  </a:cubicBezTo>
                  <a:lnTo>
                    <a:pt x="0" y="774635"/>
                  </a:lnTo>
                  <a:lnTo>
                    <a:pt x="0" y="57875"/>
                  </a:lnTo>
                  <a:close/>
                </a:path>
              </a:pathLst>
            </a:custGeom>
            <a:noFill/>
            <a:ln w="15875" cap="flat" cmpd="sng" algn="ctr">
              <a:solidFill>
                <a:srgbClr val="E7E6E6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8ACB1265-CCB7-43DF-9989-D437CC80C37E}"/>
                </a:ext>
              </a:extLst>
            </p:cNvPr>
            <p:cNvSpPr txBox="1"/>
            <p:nvPr/>
          </p:nvSpPr>
          <p:spPr>
            <a:xfrm>
              <a:off x="6399275" y="1219373"/>
              <a:ext cx="660817" cy="3578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1</a:t>
              </a:r>
              <a:endPara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3" name="Yellow Q">
              <a:extLst>
                <a:ext uri="{FF2B5EF4-FFF2-40B4-BE49-F238E27FC236}">
                  <a16:creationId xmlns:a16="http://schemas.microsoft.com/office/drawing/2014/main" id="{CD5CD34F-26E8-479B-9D74-41E796C1B25D}"/>
                </a:ext>
              </a:extLst>
            </p:cNvPr>
            <p:cNvSpPr txBox="1"/>
            <p:nvPr/>
          </p:nvSpPr>
          <p:spPr>
            <a:xfrm>
              <a:off x="7100477" y="1160981"/>
              <a:ext cx="3910423" cy="466667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07000"/>
                </a:lnSpc>
                <a:spcAft>
                  <a:spcPts val="200"/>
                </a:spcAft>
                <a:buClrTx/>
              </a:pPr>
              <a:r>
                <a:rPr lang="en-US" sz="2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Lato" panose="020F050202020403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Stages and tasks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3" grpId="1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eading">
            <a:extLst>
              <a:ext uri="{FF2B5EF4-FFF2-40B4-BE49-F238E27FC236}">
                <a16:creationId xmlns:a16="http://schemas.microsoft.com/office/drawing/2014/main" id="{1B24E883-7429-41D7-9217-CFD08871B4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5675" y="204321"/>
            <a:ext cx="9779000" cy="5238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kern="1200" dirty="0">
                <a:solidFill>
                  <a:prstClr val="black"/>
                </a:solidFill>
                <a:latin typeface="Lato Semibold" panose="020F050202020403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OB OPTIMISATION</a:t>
            </a:r>
          </a:p>
        </p:txBody>
      </p:sp>
      <p:sp>
        <p:nvSpPr>
          <p:cNvPr id="22" name="Google Shape;926;p58">
            <a:extLst>
              <a:ext uri="{FF2B5EF4-FFF2-40B4-BE49-F238E27FC236}">
                <a16:creationId xmlns:a16="http://schemas.microsoft.com/office/drawing/2014/main" id="{FB10BC63-2A32-4E00-8A35-56C4B8BB6AD1}"/>
              </a:ext>
            </a:extLst>
          </p:cNvPr>
          <p:cNvSpPr txBox="1"/>
          <p:nvPr/>
        </p:nvSpPr>
        <p:spPr>
          <a:xfrm>
            <a:off x="1069222" y="2533651"/>
            <a:ext cx="4754559" cy="2343150"/>
          </a:xfrm>
          <a:prstGeom prst="roundRect">
            <a:avLst>
              <a:gd name="adj" fmla="val 9264"/>
            </a:avLst>
          </a:prstGeom>
          <a:noFill/>
          <a:ln w="28575">
            <a:solidFill>
              <a:srgbClr val="F4AB35"/>
            </a:solidFill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algn="ctr">
              <a:spcBef>
                <a:spcPts val="800"/>
              </a:spcBef>
              <a:spcAft>
                <a:spcPts val="800"/>
              </a:spcAft>
              <a:buClr>
                <a:srgbClr val="EE283C"/>
              </a:buClr>
            </a:pPr>
            <a:r>
              <a:rPr lang="en-US" sz="2000" b="1" dirty="0">
                <a:solidFill>
                  <a:srgbClr val="EE283C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For example</a:t>
            </a:r>
            <a:r>
              <a:rPr lang="en-US" sz="20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, deciding on the right number of partitions and the partitioning size for the entire data set, which APIs to use to handle the data, which methods to use.</a:t>
            </a:r>
          </a:p>
        </p:txBody>
      </p:sp>
      <p:sp>
        <p:nvSpPr>
          <p:cNvPr id="23" name="Google Shape;926;p58">
            <a:extLst>
              <a:ext uri="{FF2B5EF4-FFF2-40B4-BE49-F238E27FC236}">
                <a16:creationId xmlns:a16="http://schemas.microsoft.com/office/drawing/2014/main" id="{DC771601-156D-4254-B1DB-51506D97E661}"/>
              </a:ext>
            </a:extLst>
          </p:cNvPr>
          <p:cNvSpPr txBox="1"/>
          <p:nvPr/>
        </p:nvSpPr>
        <p:spPr>
          <a:xfrm>
            <a:off x="6368219" y="2533651"/>
            <a:ext cx="4754559" cy="2343150"/>
          </a:xfrm>
          <a:prstGeom prst="roundRect">
            <a:avLst>
              <a:gd name="adj" fmla="val 9264"/>
            </a:avLst>
          </a:prstGeom>
          <a:noFill/>
          <a:ln w="28575">
            <a:solidFill>
              <a:srgbClr val="4890E4"/>
            </a:solidFill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algn="ctr">
              <a:spcBef>
                <a:spcPts val="800"/>
              </a:spcBef>
              <a:spcAft>
                <a:spcPts val="800"/>
              </a:spcAft>
              <a:buClr>
                <a:srgbClr val="EE283C"/>
              </a:buClr>
            </a:pPr>
            <a:r>
              <a:rPr lang="en-US" sz="2000" b="1" dirty="0">
                <a:solidFill>
                  <a:srgbClr val="EE283C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For example</a:t>
            </a:r>
            <a:r>
              <a:rPr lang="en-US" sz="20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, deciding on the</a:t>
            </a:r>
            <a:br>
              <a:rPr lang="en-US" sz="20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</a:br>
            <a:r>
              <a:rPr lang="en-US" sz="20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number of machines, how to</a:t>
            </a:r>
            <a:br>
              <a:rPr lang="en-US" sz="20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</a:br>
            <a:r>
              <a:rPr lang="en-US" sz="20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optimise the utilisation of a cluster,</a:t>
            </a:r>
            <a:br>
              <a:rPr lang="en-US" sz="20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</a:br>
            <a:r>
              <a:rPr lang="en-US" sz="2000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how to prevent underutilisation.</a:t>
            </a:r>
          </a:p>
        </p:txBody>
      </p:sp>
      <p:sp>
        <p:nvSpPr>
          <p:cNvPr id="24" name="Google Shape;926;p58">
            <a:extLst>
              <a:ext uri="{FF2B5EF4-FFF2-40B4-BE49-F238E27FC236}">
                <a16:creationId xmlns:a16="http://schemas.microsoft.com/office/drawing/2014/main" id="{7DC498CA-86D9-482E-915C-B095740AAC07}"/>
              </a:ext>
            </a:extLst>
          </p:cNvPr>
          <p:cNvSpPr txBox="1"/>
          <p:nvPr/>
        </p:nvSpPr>
        <p:spPr>
          <a:xfrm>
            <a:off x="1481808" y="1895652"/>
            <a:ext cx="3929387" cy="402401"/>
          </a:xfrm>
          <a:prstGeom prst="roundRect">
            <a:avLst>
              <a:gd name="adj" fmla="val 9264"/>
            </a:avLst>
          </a:prstGeom>
          <a:noFill/>
          <a:ln w="28575">
            <a:noFill/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</a:pPr>
            <a:r>
              <a:rPr lang="en-US" sz="2400" b="1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Code-Level </a:t>
            </a:r>
            <a:r>
              <a:rPr lang="en-US" sz="2400" b="1" dirty="0">
                <a:solidFill>
                  <a:srgbClr val="EE283C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Optimisation</a:t>
            </a:r>
          </a:p>
        </p:txBody>
      </p:sp>
      <p:sp>
        <p:nvSpPr>
          <p:cNvPr id="25" name="Google Shape;926;p58">
            <a:extLst>
              <a:ext uri="{FF2B5EF4-FFF2-40B4-BE49-F238E27FC236}">
                <a16:creationId xmlns:a16="http://schemas.microsoft.com/office/drawing/2014/main" id="{6A9382C8-0C1D-4DC5-9F24-457A01787600}"/>
              </a:ext>
            </a:extLst>
          </p:cNvPr>
          <p:cNvSpPr txBox="1"/>
          <p:nvPr/>
        </p:nvSpPr>
        <p:spPr>
          <a:xfrm>
            <a:off x="6780805" y="1895652"/>
            <a:ext cx="3929387" cy="402401"/>
          </a:xfrm>
          <a:prstGeom prst="roundRect">
            <a:avLst>
              <a:gd name="adj" fmla="val 9264"/>
            </a:avLst>
          </a:prstGeom>
          <a:noFill/>
          <a:ln w="28575">
            <a:noFill/>
          </a:ln>
        </p:spPr>
        <p:txBody>
          <a:bodyPr spcFirstLastPara="1" wrap="square" lIns="90000" tIns="90000" rIns="90000" bIns="90000" anchor="ctr" anchorCtr="0">
            <a:no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rgbClr val="EE283C"/>
              </a:buClr>
            </a:pPr>
            <a:r>
              <a:rPr lang="en-US" sz="2400" b="1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Cluster-Level </a:t>
            </a:r>
            <a:r>
              <a:rPr lang="en-US" sz="2400" b="1" dirty="0">
                <a:solidFill>
                  <a:srgbClr val="EE283C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/>
              </a:rPr>
              <a:t>Optimis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1" grpId="1" animBg="1"/>
      <p:bldP spid="22" grpId="0" animBg="1"/>
      <p:bldP spid="22" grpId="1" animBg="1"/>
      <p:bldP spid="23" grpId="0" animBg="1"/>
      <p:bldP spid="23" grpId="1" animBg="1"/>
      <p:bldP spid="24" grpId="0"/>
      <p:bldP spid="24" grpId="1"/>
      <p:bldP spid="25" grpId="0"/>
      <p:bldP spid="25" grpId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h6eWShOSfX2mYCf7_GlQ"/>
</p:tagLst>
</file>

<file path=ppt/theme/theme1.xml><?xml version="1.0" encoding="utf-8"?>
<a:theme xmlns:a="http://schemas.openxmlformats.org/drawingml/2006/main" name="MASTER_UPGRAD">
  <a:themeElements>
    <a:clrScheme name="Office Them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837</TotalTime>
  <Words>1246</Words>
  <Application>Microsoft Office PowerPoint</Application>
  <PresentationFormat>Widescreen</PresentationFormat>
  <Paragraphs>257</Paragraphs>
  <Slides>33</Slides>
  <Notes>3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6" baseType="lpstr">
      <vt:lpstr>Lato</vt:lpstr>
      <vt:lpstr>Roboto</vt:lpstr>
      <vt:lpstr>Arial</vt:lpstr>
      <vt:lpstr>Calibri Light</vt:lpstr>
      <vt:lpstr>Lato Regular</vt:lpstr>
      <vt:lpstr>Wingdings</vt:lpstr>
      <vt:lpstr>Proxima Nova</vt:lpstr>
      <vt:lpstr>Calibri</vt:lpstr>
      <vt:lpstr>Lato Semibold</vt:lpstr>
      <vt:lpstr>MASTER_UPGRAD</vt:lpstr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Shriansh  Nauriyal</cp:lastModifiedBy>
  <cp:revision>28</cp:revision>
  <dcterms:modified xsi:type="dcterms:W3CDTF">2020-09-08T20:29:55Z</dcterms:modified>
</cp:coreProperties>
</file>